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sldIdLst>
    <p:sldId id="4441" r:id="rId5"/>
    <p:sldId id="2224" r:id="rId6"/>
    <p:sldId id="874" r:id="rId7"/>
    <p:sldId id="875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denhour, Anne" initials="RA" lastIdx="1" clrIdx="0">
    <p:extLst>
      <p:ext uri="{19B8F6BF-5375-455C-9EA6-DF929625EA0E}">
        <p15:presenceInfo xmlns:p15="http://schemas.microsoft.com/office/powerpoint/2012/main" userId="S::aridenhour@deloitte.com::4699ec6b-eabd-4e4a-9a64-848bfecd1a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645072-545F-44CD-B2A1-B5C35EEAE5D7}" v="19" dt="2022-09-16T09:52:04.204"/>
    <p1510:client id="{50A8DB06-82EB-4899-BA8E-9FA3EC6DBD67}" v="15" dt="2022-09-16T14:07:16.309"/>
    <p1510:client id="{C53028B3-A2A8-401D-A37C-86CA03C6DBB5}" v="1" dt="2022-09-14T17:08:23.657"/>
    <p1510:client id="{C5398CB8-7B86-4941-BFBF-3760F61C95E4}" v="3" dt="2022-09-16T14:08:45.2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liwal, Prateek" userId="ee1c2d1b-abbb-497d-9a3c-762558616b8b" providerId="ADAL" clId="{C5398CB8-7B86-4941-BFBF-3760F61C95E4}"/>
    <pc:docChg chg="modSld">
      <pc:chgData name="Paliwal, Prateek" userId="ee1c2d1b-abbb-497d-9a3c-762558616b8b" providerId="ADAL" clId="{C5398CB8-7B86-4941-BFBF-3760F61C95E4}" dt="2022-09-16T14:08:45.282" v="0" actId="14100"/>
      <pc:docMkLst>
        <pc:docMk/>
      </pc:docMkLst>
      <pc:sldChg chg="modSp mod">
        <pc:chgData name="Paliwal, Prateek" userId="ee1c2d1b-abbb-497d-9a3c-762558616b8b" providerId="ADAL" clId="{C5398CB8-7B86-4941-BFBF-3760F61C95E4}" dt="2022-09-16T14:08:45.282" v="0" actId="14100"/>
        <pc:sldMkLst>
          <pc:docMk/>
          <pc:sldMk cId="3275788570" sldId="875"/>
        </pc:sldMkLst>
        <pc:spChg chg="mod">
          <ac:chgData name="Paliwal, Prateek" userId="ee1c2d1b-abbb-497d-9a3c-762558616b8b" providerId="ADAL" clId="{C5398CB8-7B86-4941-BFBF-3760F61C95E4}" dt="2022-09-16T14:08:45.282" v="0" actId="14100"/>
          <ac:spMkLst>
            <pc:docMk/>
            <pc:sldMk cId="3275788570" sldId="875"/>
            <ac:spMk id="22" creationId="{F35B54AD-FD3E-4239-9C52-CAB71BF2E759}"/>
          </ac:spMkLst>
        </pc:spChg>
      </pc:sldChg>
    </pc:docChg>
  </pc:docChgLst>
  <pc:docChgLst>
    <pc:chgData name="Green, Thomas" userId="cf450cca-7570-412f-87cb-28eaf04a3778" providerId="ADAL" clId="{C53028B3-A2A8-401D-A37C-86CA03C6DBB5}"/>
    <pc:docChg chg="modSld">
      <pc:chgData name="Green, Thomas" userId="cf450cca-7570-412f-87cb-28eaf04a3778" providerId="ADAL" clId="{C53028B3-A2A8-401D-A37C-86CA03C6DBB5}" dt="2022-09-14T17:08:23.657" v="0"/>
      <pc:docMkLst>
        <pc:docMk/>
      </pc:docMkLst>
      <pc:sldChg chg="modSp mod">
        <pc:chgData name="Green, Thomas" userId="cf450cca-7570-412f-87cb-28eaf04a3778" providerId="ADAL" clId="{C53028B3-A2A8-401D-A37C-86CA03C6DBB5}" dt="2022-09-14T17:08:23.657" v="0"/>
        <pc:sldMkLst>
          <pc:docMk/>
          <pc:sldMk cId="3275788570" sldId="875"/>
        </pc:sldMkLst>
        <pc:spChg chg="mod">
          <ac:chgData name="Green, Thomas" userId="cf450cca-7570-412f-87cb-28eaf04a3778" providerId="ADAL" clId="{C53028B3-A2A8-401D-A37C-86CA03C6DBB5}" dt="2022-09-14T17:08:23.657" v="0"/>
          <ac:spMkLst>
            <pc:docMk/>
            <pc:sldMk cId="3275788570" sldId="875"/>
            <ac:spMk id="3" creationId="{0BFB9F3A-0D3B-4ABD-B099-77F65E50098A}"/>
          </ac:spMkLst>
        </pc:spChg>
      </pc:sldChg>
    </pc:docChg>
  </pc:docChgLst>
  <pc:docChgLst>
    <pc:chgData name="Ridenhour, Anne" userId="4699ec6b-eabd-4e4a-9a64-848bfecd1a81" providerId="ADAL" clId="{F4CE6DD7-533D-4336-90A8-47E280A2922D}"/>
    <pc:docChg chg="undo custSel addSld delSld modSld sldOrd delMainMaster addSection delSection modSection">
      <pc:chgData name="Ridenhour, Anne" userId="4699ec6b-eabd-4e4a-9a64-848bfecd1a81" providerId="ADAL" clId="{F4CE6DD7-533D-4336-90A8-47E280A2922D}" dt="2022-09-12T17:16:39.115" v="255" actId="47"/>
      <pc:docMkLst>
        <pc:docMk/>
      </pc:docMkLst>
      <pc:sldChg chg="add del">
        <pc:chgData name="Ridenhour, Anne" userId="4699ec6b-eabd-4e4a-9a64-848bfecd1a81" providerId="ADAL" clId="{F4CE6DD7-533D-4336-90A8-47E280A2922D}" dt="2022-09-12T17:16:29.653" v="247" actId="47"/>
        <pc:sldMkLst>
          <pc:docMk/>
          <pc:sldMk cId="1193598377" sldId="874"/>
        </pc:sldMkLst>
      </pc:sldChg>
      <pc:sldChg chg="add del">
        <pc:chgData name="Ridenhour, Anne" userId="4699ec6b-eabd-4e4a-9a64-848bfecd1a81" providerId="ADAL" clId="{F4CE6DD7-533D-4336-90A8-47E280A2922D}" dt="2022-09-12T17:16:29.653" v="247" actId="47"/>
        <pc:sldMkLst>
          <pc:docMk/>
          <pc:sldMk cId="1038563722" sldId="2224"/>
        </pc:sldMkLst>
      </pc:sldChg>
      <pc:sldChg chg="addSp delSp modSp add del mod">
        <pc:chgData name="Ridenhour, Anne" userId="4699ec6b-eabd-4e4a-9a64-848bfecd1a81" providerId="ADAL" clId="{F4CE6DD7-533D-4336-90A8-47E280A2922D}" dt="2022-09-12T17:16:29.373" v="246"/>
        <pc:sldMkLst>
          <pc:docMk/>
          <pc:sldMk cId="3932598669" sldId="2238"/>
        </pc:sldMkLst>
        <pc:spChg chg="mod">
          <ac:chgData name="Ridenhour, Anne" userId="4699ec6b-eabd-4e4a-9a64-848bfecd1a81" providerId="ADAL" clId="{F4CE6DD7-533D-4336-90A8-47E280A2922D}" dt="2022-09-12T17:16:25.137" v="235" actId="20577"/>
          <ac:spMkLst>
            <pc:docMk/>
            <pc:sldMk cId="3932598669" sldId="2238"/>
            <ac:spMk id="2" creationId="{6084C371-7178-4627-9762-4EB04C750963}"/>
          </ac:spMkLst>
        </pc:spChg>
        <pc:spChg chg="mod">
          <ac:chgData name="Ridenhour, Anne" userId="4699ec6b-eabd-4e4a-9a64-848bfecd1a81" providerId="ADAL" clId="{F4CE6DD7-533D-4336-90A8-47E280A2922D}" dt="2022-09-12T17:16:29.043" v="245" actId="20577"/>
          <ac:spMkLst>
            <pc:docMk/>
            <pc:sldMk cId="3932598669" sldId="2238"/>
            <ac:spMk id="25" creationId="{BEEEDE57-F1A3-402F-BC93-CE15B9289E0F}"/>
          </ac:spMkLst>
        </pc:spChg>
        <pc:spChg chg="mod">
          <ac:chgData name="Ridenhour, Anne" userId="4699ec6b-eabd-4e4a-9a64-848bfecd1a81" providerId="ADAL" clId="{F4CE6DD7-533D-4336-90A8-47E280A2922D}" dt="2022-09-12T17:16:28.029" v="242" actId="20577"/>
          <ac:spMkLst>
            <pc:docMk/>
            <pc:sldMk cId="3932598669" sldId="2238"/>
            <ac:spMk id="26" creationId="{CD70B4B0-C772-4B21-87BE-30ED4B3256B5}"/>
          </ac:spMkLst>
        </pc:spChg>
        <pc:spChg chg="mod">
          <ac:chgData name="Ridenhour, Anne" userId="4699ec6b-eabd-4e4a-9a64-848bfecd1a81" providerId="ADAL" clId="{F4CE6DD7-533D-4336-90A8-47E280A2922D}" dt="2022-09-12T17:16:26.246" v="239" actId="20577"/>
          <ac:spMkLst>
            <pc:docMk/>
            <pc:sldMk cId="3932598669" sldId="2238"/>
            <ac:spMk id="27" creationId="{70F5EB6C-E9F9-4BB9-BA17-EA171E890CA2}"/>
          </ac:spMkLst>
        </pc:spChg>
        <pc:spChg chg="mod">
          <ac:chgData name="Ridenhour, Anne" userId="4699ec6b-eabd-4e4a-9a64-848bfecd1a81" providerId="ADAL" clId="{F4CE6DD7-533D-4336-90A8-47E280A2922D}" dt="2022-09-12T17:16:25.418" v="236" actId="20577"/>
          <ac:spMkLst>
            <pc:docMk/>
            <pc:sldMk cId="3932598669" sldId="2238"/>
            <ac:spMk id="28" creationId="{7B03E236-D704-4051-8C13-7593EA7A6460}"/>
          </ac:spMkLst>
        </pc:spChg>
        <pc:spChg chg="mod">
          <ac:chgData name="Ridenhour, Anne" userId="4699ec6b-eabd-4e4a-9a64-848bfecd1a81" providerId="ADAL" clId="{F4CE6DD7-533D-4336-90A8-47E280A2922D}" dt="2022-09-12T17:16:25.973" v="238" actId="20577"/>
          <ac:spMkLst>
            <pc:docMk/>
            <pc:sldMk cId="3932598669" sldId="2238"/>
            <ac:spMk id="29" creationId="{D7CCEBCC-B44F-4584-B44F-A75281D0CD30}"/>
          </ac:spMkLst>
        </pc:spChg>
        <pc:spChg chg="add del">
          <ac:chgData name="Ridenhour, Anne" userId="4699ec6b-eabd-4e4a-9a64-848bfecd1a81" providerId="ADAL" clId="{F4CE6DD7-533D-4336-90A8-47E280A2922D}" dt="2022-09-12T17:16:28.708" v="244" actId="478"/>
          <ac:spMkLst>
            <pc:docMk/>
            <pc:sldMk cId="3932598669" sldId="2238"/>
            <ac:spMk id="58" creationId="{CD2B71CB-9459-4803-983E-F3F9B47B8066}"/>
          </ac:spMkLst>
        </pc:spChg>
        <pc:spChg chg="mod">
          <ac:chgData name="Ridenhour, Anne" userId="4699ec6b-eabd-4e4a-9a64-848bfecd1a81" providerId="ADAL" clId="{F4CE6DD7-533D-4336-90A8-47E280A2922D}" dt="2022-09-12T17:16:28.332" v="243" actId="207"/>
          <ac:spMkLst>
            <pc:docMk/>
            <pc:sldMk cId="3932598669" sldId="2238"/>
            <ac:spMk id="60" creationId="{E0159B31-8927-4129-B667-F01635B17BA0}"/>
          </ac:spMkLst>
        </pc:spChg>
      </pc:sldChg>
      <pc:sldChg chg="addSp delSp modSp del mod addCm modCm">
        <pc:chgData name="Ridenhour, Anne" userId="4699ec6b-eabd-4e4a-9a64-848bfecd1a81" providerId="ADAL" clId="{F4CE6DD7-533D-4336-90A8-47E280A2922D}" dt="2022-09-12T17:16:39.115" v="255" actId="47"/>
        <pc:sldMkLst>
          <pc:docMk/>
          <pc:sldMk cId="612199271" sldId="4455"/>
        </pc:sldMkLst>
        <pc:spChg chg="del">
          <ac:chgData name="Ridenhour, Anne" userId="4699ec6b-eabd-4e4a-9a64-848bfecd1a81" providerId="ADAL" clId="{F4CE6DD7-533D-4336-90A8-47E280A2922D}" dt="2022-09-12T17:09:33.870" v="3" actId="478"/>
          <ac:spMkLst>
            <pc:docMk/>
            <pc:sldMk cId="612199271" sldId="4455"/>
            <ac:spMk id="5" creationId="{05597B3F-2F73-4981-9015-A3EEC3150515}"/>
          </ac:spMkLst>
        </pc:spChg>
        <pc:spChg chg="del">
          <ac:chgData name="Ridenhour, Anne" userId="4699ec6b-eabd-4e4a-9a64-848bfecd1a81" providerId="ADAL" clId="{F4CE6DD7-533D-4336-90A8-47E280A2922D}" dt="2022-09-12T17:09:33.870" v="3" actId="478"/>
          <ac:spMkLst>
            <pc:docMk/>
            <pc:sldMk cId="612199271" sldId="4455"/>
            <ac:spMk id="18" creationId="{00000000-0000-0000-0000-000000000000}"/>
          </ac:spMkLst>
        </pc:spChg>
        <pc:spChg chg="add del mod">
          <ac:chgData name="Ridenhour, Anne" userId="4699ec6b-eabd-4e4a-9a64-848bfecd1a81" providerId="ADAL" clId="{F4CE6DD7-533D-4336-90A8-47E280A2922D}" dt="2022-09-12T17:13:27.018" v="162" actId="478"/>
          <ac:spMkLst>
            <pc:docMk/>
            <pc:sldMk cId="612199271" sldId="4455"/>
            <ac:spMk id="29" creationId="{409A24AA-E36A-4522-AD21-06841527C4D0}"/>
          </ac:spMkLst>
        </pc:spChg>
        <pc:spChg chg="del">
          <ac:chgData name="Ridenhour, Anne" userId="4699ec6b-eabd-4e4a-9a64-848bfecd1a81" providerId="ADAL" clId="{F4CE6DD7-533D-4336-90A8-47E280A2922D}" dt="2022-09-12T17:09:22.759" v="0" actId="478"/>
          <ac:spMkLst>
            <pc:docMk/>
            <pc:sldMk cId="612199271" sldId="4455"/>
            <ac:spMk id="38" creationId="{C66347A3-EFAE-4CB6-86B1-A43B182BCB62}"/>
          </ac:spMkLst>
        </pc:spChg>
        <pc:spChg chg="del">
          <ac:chgData name="Ridenhour, Anne" userId="4699ec6b-eabd-4e4a-9a64-848bfecd1a81" providerId="ADAL" clId="{F4CE6DD7-533D-4336-90A8-47E280A2922D}" dt="2022-09-12T17:09:22.759" v="0" actId="478"/>
          <ac:spMkLst>
            <pc:docMk/>
            <pc:sldMk cId="612199271" sldId="4455"/>
            <ac:spMk id="39" creationId="{358181F4-0253-4496-9A76-B36C3C12C8CC}"/>
          </ac:spMkLst>
        </pc:spChg>
        <pc:spChg chg="del">
          <ac:chgData name="Ridenhour, Anne" userId="4699ec6b-eabd-4e4a-9a64-848bfecd1a81" providerId="ADAL" clId="{F4CE6DD7-533D-4336-90A8-47E280A2922D}" dt="2022-09-12T17:09:22.759" v="0" actId="478"/>
          <ac:spMkLst>
            <pc:docMk/>
            <pc:sldMk cId="612199271" sldId="4455"/>
            <ac:spMk id="40" creationId="{678C8829-EBA7-47F4-BEC4-2A677D2ED260}"/>
          </ac:spMkLst>
        </pc:spChg>
        <pc:spChg chg="del">
          <ac:chgData name="Ridenhour, Anne" userId="4699ec6b-eabd-4e4a-9a64-848bfecd1a81" providerId="ADAL" clId="{F4CE6DD7-533D-4336-90A8-47E280A2922D}" dt="2022-09-12T17:09:22.759" v="0" actId="478"/>
          <ac:spMkLst>
            <pc:docMk/>
            <pc:sldMk cId="612199271" sldId="4455"/>
            <ac:spMk id="41" creationId="{A278C0B5-1DEA-4E55-AB70-5561948BC9DD}"/>
          </ac:spMkLst>
        </pc:spChg>
        <pc:spChg chg="mod">
          <ac:chgData name="Ridenhour, Anne" userId="4699ec6b-eabd-4e4a-9a64-848bfecd1a81" providerId="ADAL" clId="{F4CE6DD7-533D-4336-90A8-47E280A2922D}" dt="2022-09-12T17:09:37.892" v="19" actId="1035"/>
          <ac:spMkLst>
            <pc:docMk/>
            <pc:sldMk cId="612199271" sldId="4455"/>
            <ac:spMk id="42" creationId="{305B65C7-63F5-4C0B-AE88-91FC9C3C16EB}"/>
          </ac:spMkLst>
        </pc:spChg>
        <pc:spChg chg="mod">
          <ac:chgData name="Ridenhour, Anne" userId="4699ec6b-eabd-4e4a-9a64-848bfecd1a81" providerId="ADAL" clId="{F4CE6DD7-533D-4336-90A8-47E280A2922D}" dt="2022-09-12T17:09:37.892" v="19" actId="1035"/>
          <ac:spMkLst>
            <pc:docMk/>
            <pc:sldMk cId="612199271" sldId="4455"/>
            <ac:spMk id="43" creationId="{8FCA32E3-28F1-4FAD-8171-7A89515755FF}"/>
          </ac:spMkLst>
        </pc:spChg>
        <pc:spChg chg="mod">
          <ac:chgData name="Ridenhour, Anne" userId="4699ec6b-eabd-4e4a-9a64-848bfecd1a81" providerId="ADAL" clId="{F4CE6DD7-533D-4336-90A8-47E280A2922D}" dt="2022-09-12T17:09:37.892" v="19" actId="1035"/>
          <ac:spMkLst>
            <pc:docMk/>
            <pc:sldMk cId="612199271" sldId="4455"/>
            <ac:spMk id="44" creationId="{EB4FD551-6B47-418F-8555-5988070C6643}"/>
          </ac:spMkLst>
        </pc:spChg>
        <pc:spChg chg="mod">
          <ac:chgData name="Ridenhour, Anne" userId="4699ec6b-eabd-4e4a-9a64-848bfecd1a81" providerId="ADAL" clId="{F4CE6DD7-533D-4336-90A8-47E280A2922D}" dt="2022-09-12T17:09:37.892" v="19" actId="1035"/>
          <ac:spMkLst>
            <pc:docMk/>
            <pc:sldMk cId="612199271" sldId="4455"/>
            <ac:spMk id="45" creationId="{083A192B-DF07-41D0-B7D2-4BEF041E3524}"/>
          </ac:spMkLst>
        </pc:spChg>
        <pc:spChg chg="mod">
          <ac:chgData name="Ridenhour, Anne" userId="4699ec6b-eabd-4e4a-9a64-848bfecd1a81" providerId="ADAL" clId="{F4CE6DD7-533D-4336-90A8-47E280A2922D}" dt="2022-09-12T17:09:37.892" v="19" actId="1035"/>
          <ac:spMkLst>
            <pc:docMk/>
            <pc:sldMk cId="612199271" sldId="4455"/>
            <ac:spMk id="46" creationId="{64D7ADAF-8F65-4966-ADFD-16B8E7BB2859}"/>
          </ac:spMkLst>
        </pc:spChg>
        <pc:spChg chg="mod">
          <ac:chgData name="Ridenhour, Anne" userId="4699ec6b-eabd-4e4a-9a64-848bfecd1a81" providerId="ADAL" clId="{F4CE6DD7-533D-4336-90A8-47E280A2922D}" dt="2022-09-12T17:10:45.445" v="63" actId="20577"/>
          <ac:spMkLst>
            <pc:docMk/>
            <pc:sldMk cId="612199271" sldId="4455"/>
            <ac:spMk id="47" creationId="{36632DDD-3915-4842-85DF-4A9D221656DD}"/>
          </ac:spMkLst>
        </pc:spChg>
        <pc:spChg chg="del">
          <ac:chgData name="Ridenhour, Anne" userId="4699ec6b-eabd-4e4a-9a64-848bfecd1a81" providerId="ADAL" clId="{F4CE6DD7-533D-4336-90A8-47E280A2922D}" dt="2022-09-12T17:09:27.334" v="1" actId="478"/>
          <ac:spMkLst>
            <pc:docMk/>
            <pc:sldMk cId="612199271" sldId="4455"/>
            <ac:spMk id="55" creationId="{8CC4D159-D315-4C7C-AF51-0B60F4D0F946}"/>
          </ac:spMkLst>
        </pc:spChg>
        <pc:spChg chg="del">
          <ac:chgData name="Ridenhour, Anne" userId="4699ec6b-eabd-4e4a-9a64-848bfecd1a81" providerId="ADAL" clId="{F4CE6DD7-533D-4336-90A8-47E280A2922D}" dt="2022-09-12T17:09:22.759" v="0" actId="478"/>
          <ac:spMkLst>
            <pc:docMk/>
            <pc:sldMk cId="612199271" sldId="4455"/>
            <ac:spMk id="56" creationId="{F7812914-B9AE-4C87-B9BF-D5466A70328A}"/>
          </ac:spMkLst>
        </pc:spChg>
        <pc:spChg chg="del">
          <ac:chgData name="Ridenhour, Anne" userId="4699ec6b-eabd-4e4a-9a64-848bfecd1a81" providerId="ADAL" clId="{F4CE6DD7-533D-4336-90A8-47E280A2922D}" dt="2022-09-12T17:09:22.759" v="0" actId="478"/>
          <ac:spMkLst>
            <pc:docMk/>
            <pc:sldMk cId="612199271" sldId="4455"/>
            <ac:spMk id="57" creationId="{07E6B8C7-9A8D-4F5B-A901-B96B5108C8FB}"/>
          </ac:spMkLst>
        </pc:spChg>
        <pc:spChg chg="del">
          <ac:chgData name="Ridenhour, Anne" userId="4699ec6b-eabd-4e4a-9a64-848bfecd1a81" providerId="ADAL" clId="{F4CE6DD7-533D-4336-90A8-47E280A2922D}" dt="2022-09-12T17:09:27.334" v="1" actId="478"/>
          <ac:spMkLst>
            <pc:docMk/>
            <pc:sldMk cId="612199271" sldId="4455"/>
            <ac:spMk id="58" creationId="{C7A642EC-48EB-4C2D-9985-6FDA24EC216E}"/>
          </ac:spMkLst>
        </pc:spChg>
        <pc:spChg chg="del">
          <ac:chgData name="Ridenhour, Anne" userId="4699ec6b-eabd-4e4a-9a64-848bfecd1a81" providerId="ADAL" clId="{F4CE6DD7-533D-4336-90A8-47E280A2922D}" dt="2022-09-12T17:09:22.759" v="0" actId="478"/>
          <ac:spMkLst>
            <pc:docMk/>
            <pc:sldMk cId="612199271" sldId="4455"/>
            <ac:spMk id="59" creationId="{91A86095-C0CD-42CD-8EEA-D0F0DE08FA4C}"/>
          </ac:spMkLst>
        </pc:spChg>
        <pc:spChg chg="del">
          <ac:chgData name="Ridenhour, Anne" userId="4699ec6b-eabd-4e4a-9a64-848bfecd1a81" providerId="ADAL" clId="{F4CE6DD7-533D-4336-90A8-47E280A2922D}" dt="2022-09-12T17:09:27.334" v="1" actId="478"/>
          <ac:spMkLst>
            <pc:docMk/>
            <pc:sldMk cId="612199271" sldId="4455"/>
            <ac:spMk id="60" creationId="{1705F76D-5724-4E70-B0E5-0B887B396D0E}"/>
          </ac:spMkLst>
        </pc:spChg>
        <pc:picChg chg="del">
          <ac:chgData name="Ridenhour, Anne" userId="4699ec6b-eabd-4e4a-9a64-848bfecd1a81" providerId="ADAL" clId="{F4CE6DD7-533D-4336-90A8-47E280A2922D}" dt="2022-09-12T17:09:29.903" v="2" actId="478"/>
          <ac:picMkLst>
            <pc:docMk/>
            <pc:sldMk cId="612199271" sldId="4455"/>
            <ac:picMk id="61" creationId="{2908C150-8AC3-4ABC-8122-0D42C49270A2}"/>
          </ac:picMkLst>
        </pc:picChg>
      </pc:sldChg>
      <pc:sldChg chg="addSp delSp modSp del mod">
        <pc:chgData name="Ridenhour, Anne" userId="4699ec6b-eabd-4e4a-9a64-848bfecd1a81" providerId="ADAL" clId="{F4CE6DD7-533D-4336-90A8-47E280A2922D}" dt="2022-09-12T17:16:39.115" v="255" actId="47"/>
        <pc:sldMkLst>
          <pc:docMk/>
          <pc:sldMk cId="71779934" sldId="5436"/>
        </pc:sldMkLst>
        <pc:spChg chg="mod">
          <ac:chgData name="Ridenhour, Anne" userId="4699ec6b-eabd-4e4a-9a64-848bfecd1a81" providerId="ADAL" clId="{F4CE6DD7-533D-4336-90A8-47E280A2922D}" dt="2022-09-12T17:16:32.442" v="249" actId="20577"/>
          <ac:spMkLst>
            <pc:docMk/>
            <pc:sldMk cId="71779934" sldId="5436"/>
            <ac:spMk id="2" creationId="{BD9B51CD-E0D2-4632-BCA3-0461536A5D76}"/>
          </ac:spMkLst>
        </pc:spChg>
        <pc:spChg chg="mod">
          <ac:chgData name="Ridenhour, Anne" userId="4699ec6b-eabd-4e4a-9a64-848bfecd1a81" providerId="ADAL" clId="{F4CE6DD7-533D-4336-90A8-47E280A2922D}" dt="2022-09-12T17:11:52.670" v="112" actId="20577"/>
          <ac:spMkLst>
            <pc:docMk/>
            <pc:sldMk cId="71779934" sldId="5436"/>
            <ac:spMk id="4" creationId="{8A616C53-2091-4D92-ACE9-DDC422EBE5FD}"/>
          </ac:spMkLst>
        </pc:spChg>
        <pc:spChg chg="mod">
          <ac:chgData name="Ridenhour, Anne" userId="4699ec6b-eabd-4e4a-9a64-848bfecd1a81" providerId="ADAL" clId="{F4CE6DD7-533D-4336-90A8-47E280A2922D}" dt="2022-09-12T17:11:49.976" v="104" actId="20577"/>
          <ac:spMkLst>
            <pc:docMk/>
            <pc:sldMk cId="71779934" sldId="5436"/>
            <ac:spMk id="5" creationId="{89C4FFF2-0F2D-4E2B-BC9C-F3E692FDA3C3}"/>
          </ac:spMkLst>
        </pc:spChg>
        <pc:spChg chg="mod">
          <ac:chgData name="Ridenhour, Anne" userId="4699ec6b-eabd-4e4a-9a64-848bfecd1a81" providerId="ADAL" clId="{F4CE6DD7-533D-4336-90A8-47E280A2922D}" dt="2022-09-12T17:11:47.023" v="96" actId="20577"/>
          <ac:spMkLst>
            <pc:docMk/>
            <pc:sldMk cId="71779934" sldId="5436"/>
            <ac:spMk id="6" creationId="{6216E552-DFE7-4F84-A8D1-4604B820217A}"/>
          </ac:spMkLst>
        </pc:spChg>
        <pc:spChg chg="mod">
          <ac:chgData name="Ridenhour, Anne" userId="4699ec6b-eabd-4e4a-9a64-848bfecd1a81" providerId="ADAL" clId="{F4CE6DD7-533D-4336-90A8-47E280A2922D}" dt="2022-09-12T17:11:35.243" v="72" actId="20577"/>
          <ac:spMkLst>
            <pc:docMk/>
            <pc:sldMk cId="71779934" sldId="5436"/>
            <ac:spMk id="7" creationId="{CBC0D540-E5A1-4A59-9D2B-964368C64890}"/>
          </ac:spMkLst>
        </pc:spChg>
        <pc:spChg chg="mod">
          <ac:chgData name="Ridenhour, Anne" userId="4699ec6b-eabd-4e4a-9a64-848bfecd1a81" providerId="ADAL" clId="{F4CE6DD7-533D-4336-90A8-47E280A2922D}" dt="2022-09-12T17:11:38.387" v="74" actId="20577"/>
          <ac:spMkLst>
            <pc:docMk/>
            <pc:sldMk cId="71779934" sldId="5436"/>
            <ac:spMk id="8" creationId="{CAC66DEC-50C8-4C92-93CB-44B84071C53F}"/>
          </ac:spMkLst>
        </pc:spChg>
        <pc:spChg chg="mod">
          <ac:chgData name="Ridenhour, Anne" userId="4699ec6b-eabd-4e4a-9a64-848bfecd1a81" providerId="ADAL" clId="{F4CE6DD7-533D-4336-90A8-47E280A2922D}" dt="2022-09-12T17:11:40.976" v="76" actId="20577"/>
          <ac:spMkLst>
            <pc:docMk/>
            <pc:sldMk cId="71779934" sldId="5436"/>
            <ac:spMk id="9" creationId="{D5BC2B4D-1E23-4543-B61B-D093AC573DD9}"/>
          </ac:spMkLst>
        </pc:spChg>
        <pc:spChg chg="mod">
          <ac:chgData name="Ridenhour, Anne" userId="4699ec6b-eabd-4e4a-9a64-848bfecd1a81" providerId="ADAL" clId="{F4CE6DD7-533D-4336-90A8-47E280A2922D}" dt="2022-09-12T17:12:21.442" v="157" actId="20577"/>
          <ac:spMkLst>
            <pc:docMk/>
            <pc:sldMk cId="71779934" sldId="5436"/>
            <ac:spMk id="25" creationId="{9FC6C2E0-D96A-4B7A-8720-9E505C64C334}"/>
          </ac:spMkLst>
        </pc:spChg>
        <pc:spChg chg="mod">
          <ac:chgData name="Ridenhour, Anne" userId="4699ec6b-eabd-4e4a-9a64-848bfecd1a81" providerId="ADAL" clId="{F4CE6DD7-533D-4336-90A8-47E280A2922D}" dt="2022-09-12T17:12:09.607" v="123" actId="20577"/>
          <ac:spMkLst>
            <pc:docMk/>
            <pc:sldMk cId="71779934" sldId="5436"/>
            <ac:spMk id="26" creationId="{42819352-D5EB-405D-9FB6-8A11AD175BE5}"/>
          </ac:spMkLst>
        </pc:spChg>
        <pc:spChg chg="mod">
          <ac:chgData name="Ridenhour, Anne" userId="4699ec6b-eabd-4e4a-9a64-848bfecd1a81" providerId="ADAL" clId="{F4CE6DD7-533D-4336-90A8-47E280A2922D}" dt="2022-09-12T17:12:15.129" v="142" actId="20577"/>
          <ac:spMkLst>
            <pc:docMk/>
            <pc:sldMk cId="71779934" sldId="5436"/>
            <ac:spMk id="27" creationId="{02777556-C744-4531-9AA4-238DAA2580A2}"/>
          </ac:spMkLst>
        </pc:spChg>
        <pc:spChg chg="mod">
          <ac:chgData name="Ridenhour, Anne" userId="4699ec6b-eabd-4e4a-9a64-848bfecd1a81" providerId="ADAL" clId="{F4CE6DD7-533D-4336-90A8-47E280A2922D}" dt="2022-09-12T17:16:31.760" v="248" actId="20577"/>
          <ac:spMkLst>
            <pc:docMk/>
            <pc:sldMk cId="71779934" sldId="5436"/>
            <ac:spMk id="29" creationId="{DC1E78BA-674D-4C86-BFA1-414D19FD3208}"/>
          </ac:spMkLst>
        </pc:spChg>
        <pc:picChg chg="add del">
          <ac:chgData name="Ridenhour, Anne" userId="4699ec6b-eabd-4e4a-9a64-848bfecd1a81" providerId="ADAL" clId="{F4CE6DD7-533D-4336-90A8-47E280A2922D}" dt="2022-09-12T17:16:32.960" v="250" actId="478"/>
          <ac:picMkLst>
            <pc:docMk/>
            <pc:sldMk cId="71779934" sldId="5436"/>
            <ac:picMk id="34" creationId="{1047993C-2040-472B-9DD0-46C5339ECC66}"/>
          </ac:picMkLst>
        </pc:picChg>
      </pc:sldChg>
      <pc:sldChg chg="delSp modSp add del mod">
        <pc:chgData name="Ridenhour, Anne" userId="4699ec6b-eabd-4e4a-9a64-848bfecd1a81" providerId="ADAL" clId="{F4CE6DD7-533D-4336-90A8-47E280A2922D}" dt="2022-09-12T17:11:27.148" v="70" actId="47"/>
        <pc:sldMkLst>
          <pc:docMk/>
          <pc:sldMk cId="3223497483" sldId="5445"/>
        </pc:sldMkLst>
        <pc:spChg chg="mod">
          <ac:chgData name="Ridenhour, Anne" userId="4699ec6b-eabd-4e4a-9a64-848bfecd1a81" providerId="ADAL" clId="{F4CE6DD7-533D-4336-90A8-47E280A2922D}" dt="2022-09-12T17:10:31.140" v="42" actId="20577"/>
          <ac:spMkLst>
            <pc:docMk/>
            <pc:sldMk cId="3223497483" sldId="5445"/>
            <ac:spMk id="4" creationId="{8A616C53-2091-4D92-ACE9-DDC422EBE5FD}"/>
          </ac:spMkLst>
        </pc:spChg>
        <pc:spChg chg="mod">
          <ac:chgData name="Ridenhour, Anne" userId="4699ec6b-eabd-4e4a-9a64-848bfecd1a81" providerId="ADAL" clId="{F4CE6DD7-533D-4336-90A8-47E280A2922D}" dt="2022-09-12T17:10:34.994" v="52" actId="20577"/>
          <ac:spMkLst>
            <pc:docMk/>
            <pc:sldMk cId="3223497483" sldId="5445"/>
            <ac:spMk id="5" creationId="{89C4FFF2-0F2D-4E2B-BC9C-F3E692FDA3C3}"/>
          </ac:spMkLst>
        </pc:spChg>
        <pc:spChg chg="mod">
          <ac:chgData name="Ridenhour, Anne" userId="4699ec6b-eabd-4e4a-9a64-848bfecd1a81" providerId="ADAL" clId="{F4CE6DD7-533D-4336-90A8-47E280A2922D}" dt="2022-09-12T17:10:38.261" v="60" actId="20577"/>
          <ac:spMkLst>
            <pc:docMk/>
            <pc:sldMk cId="3223497483" sldId="5445"/>
            <ac:spMk id="6" creationId="{6216E552-DFE7-4F84-A8D1-4604B820217A}"/>
          </ac:spMkLst>
        </pc:spChg>
        <pc:spChg chg="mod">
          <ac:chgData name="Ridenhour, Anne" userId="4699ec6b-eabd-4e4a-9a64-848bfecd1a81" providerId="ADAL" clId="{F4CE6DD7-533D-4336-90A8-47E280A2922D}" dt="2022-09-12T17:10:24.962" v="32" actId="20577"/>
          <ac:spMkLst>
            <pc:docMk/>
            <pc:sldMk cId="3223497483" sldId="5445"/>
            <ac:spMk id="7" creationId="{CBC0D540-E5A1-4A59-9D2B-964368C64890}"/>
          </ac:spMkLst>
        </pc:spChg>
        <pc:spChg chg="mod">
          <ac:chgData name="Ridenhour, Anne" userId="4699ec6b-eabd-4e4a-9a64-848bfecd1a81" providerId="ADAL" clId="{F4CE6DD7-533D-4336-90A8-47E280A2922D}" dt="2022-09-12T17:10:21.936" v="30" actId="20577"/>
          <ac:spMkLst>
            <pc:docMk/>
            <pc:sldMk cId="3223497483" sldId="5445"/>
            <ac:spMk id="8" creationId="{CAC66DEC-50C8-4C92-93CB-44B84071C53F}"/>
          </ac:spMkLst>
        </pc:spChg>
        <pc:spChg chg="mod">
          <ac:chgData name="Ridenhour, Anne" userId="4699ec6b-eabd-4e4a-9a64-848bfecd1a81" providerId="ADAL" clId="{F4CE6DD7-533D-4336-90A8-47E280A2922D}" dt="2022-09-12T17:10:19.166" v="28" actId="20577"/>
          <ac:spMkLst>
            <pc:docMk/>
            <pc:sldMk cId="3223497483" sldId="5445"/>
            <ac:spMk id="9" creationId="{D5BC2B4D-1E23-4543-B61B-D093AC573DD9}"/>
          </ac:spMkLst>
        </pc:spChg>
        <pc:picChg chg="del">
          <ac:chgData name="Ridenhour, Anne" userId="4699ec6b-eabd-4e4a-9a64-848bfecd1a81" providerId="ADAL" clId="{F4CE6DD7-533D-4336-90A8-47E280A2922D}" dt="2022-09-12T17:10:40.510" v="61" actId="478"/>
          <ac:picMkLst>
            <pc:docMk/>
            <pc:sldMk cId="3223497483" sldId="5445"/>
            <ac:picMk id="30" creationId="{6AE21952-F27A-4A51-832D-DED7754E08E4}"/>
          </ac:picMkLst>
        </pc:picChg>
      </pc:sldChg>
      <pc:sldChg chg="addSp delSp modSp add del mod">
        <pc:chgData name="Ridenhour, Anne" userId="4699ec6b-eabd-4e4a-9a64-848bfecd1a81" providerId="ADAL" clId="{F4CE6DD7-533D-4336-90A8-47E280A2922D}" dt="2022-09-12T17:16:39.115" v="255" actId="47"/>
        <pc:sldMkLst>
          <pc:docMk/>
          <pc:sldMk cId="3008282742" sldId="5446"/>
        </pc:sldMkLst>
        <pc:spChg chg="add del">
          <ac:chgData name="Ridenhour, Anne" userId="4699ec6b-eabd-4e4a-9a64-848bfecd1a81" providerId="ADAL" clId="{F4CE6DD7-533D-4336-90A8-47E280A2922D}" dt="2022-09-12T17:16:34.090" v="252" actId="22"/>
          <ac:spMkLst>
            <pc:docMk/>
            <pc:sldMk cId="3008282742" sldId="5446"/>
            <ac:spMk id="17" creationId="{9F5CC44F-8124-4E53-A6C1-0D04E1CF0AA1}"/>
          </ac:spMkLst>
        </pc:spChg>
        <pc:spChg chg="mod">
          <ac:chgData name="Ridenhour, Anne" userId="4699ec6b-eabd-4e4a-9a64-848bfecd1a81" providerId="ADAL" clId="{F4CE6DD7-533D-4336-90A8-47E280A2922D}" dt="2022-09-12T17:10:51.273" v="66" actId="20577"/>
          <ac:spMkLst>
            <pc:docMk/>
            <pc:sldMk cId="3008282742" sldId="5446"/>
            <ac:spMk id="47" creationId="{36632DDD-3915-4842-85DF-4A9D221656DD}"/>
          </ac:spMkLst>
        </pc:spChg>
      </pc:sldChg>
      <pc:sldChg chg="modSp add del mod">
        <pc:chgData name="Ridenhour, Anne" userId="4699ec6b-eabd-4e4a-9a64-848bfecd1a81" providerId="ADAL" clId="{F4CE6DD7-533D-4336-90A8-47E280A2922D}" dt="2022-09-12T17:16:39.115" v="255" actId="47"/>
        <pc:sldMkLst>
          <pc:docMk/>
          <pc:sldMk cId="1815435887" sldId="5447"/>
        </pc:sldMkLst>
        <pc:spChg chg="mod">
          <ac:chgData name="Ridenhour, Anne" userId="4699ec6b-eabd-4e4a-9a64-848bfecd1a81" providerId="ADAL" clId="{F4CE6DD7-533D-4336-90A8-47E280A2922D}" dt="2022-09-12T17:10:57.256" v="69" actId="20577"/>
          <ac:spMkLst>
            <pc:docMk/>
            <pc:sldMk cId="1815435887" sldId="5447"/>
            <ac:spMk id="47" creationId="{36632DDD-3915-4842-85DF-4A9D221656DD}"/>
          </ac:spMkLst>
        </pc:spChg>
      </pc:sldChg>
      <pc:sldChg chg="modSp add del mod">
        <pc:chgData name="Ridenhour, Anne" userId="4699ec6b-eabd-4e4a-9a64-848bfecd1a81" providerId="ADAL" clId="{F4CE6DD7-533D-4336-90A8-47E280A2922D}" dt="2022-09-12T17:16:24.833" v="234" actId="2890"/>
        <pc:sldMkLst>
          <pc:docMk/>
          <pc:sldMk cId="1114712552" sldId="5448"/>
        </pc:sldMkLst>
        <pc:spChg chg="mod">
          <ac:chgData name="Ridenhour, Anne" userId="4699ec6b-eabd-4e4a-9a64-848bfecd1a81" providerId="ADAL" clId="{F4CE6DD7-533D-4336-90A8-47E280A2922D}" dt="2022-09-12T17:16:24.480" v="233" actId="20577"/>
          <ac:spMkLst>
            <pc:docMk/>
            <pc:sldMk cId="1114712552" sldId="5448"/>
            <ac:spMk id="2" creationId="{6084C371-7178-4627-9762-4EB04C750963}"/>
          </ac:spMkLst>
        </pc:spChg>
      </pc:sldChg>
      <pc:sldChg chg="modSp add del mod">
        <pc:chgData name="Ridenhour, Anne" userId="4699ec6b-eabd-4e4a-9a64-848bfecd1a81" providerId="ADAL" clId="{F4CE6DD7-533D-4336-90A8-47E280A2922D}" dt="2022-09-12T17:16:23.796" v="231" actId="2890"/>
        <pc:sldMkLst>
          <pc:docMk/>
          <pc:sldMk cId="424018631" sldId="5449"/>
        </pc:sldMkLst>
        <pc:spChg chg="mod">
          <ac:chgData name="Ridenhour, Anne" userId="4699ec6b-eabd-4e4a-9a64-848bfecd1a81" providerId="ADAL" clId="{F4CE6DD7-533D-4336-90A8-47E280A2922D}" dt="2022-09-12T17:16:23.435" v="230" actId="20577"/>
          <ac:spMkLst>
            <pc:docMk/>
            <pc:sldMk cId="424018631" sldId="5449"/>
            <ac:spMk id="2" creationId="{6084C371-7178-4627-9762-4EB04C750963}"/>
          </ac:spMkLst>
        </pc:spChg>
      </pc:sldChg>
      <pc:sldChg chg="add del ord">
        <pc:chgData name="Ridenhour, Anne" userId="4699ec6b-eabd-4e4a-9a64-848bfecd1a81" providerId="ADAL" clId="{F4CE6DD7-533D-4336-90A8-47E280A2922D}" dt="2022-09-12T17:16:19.684" v="226" actId="2890"/>
        <pc:sldMkLst>
          <pc:docMk/>
          <pc:sldMk cId="2368757860" sldId="5450"/>
        </pc:sldMkLst>
      </pc:sldChg>
      <pc:sldMasterChg chg="del delSldLayout">
        <pc:chgData name="Ridenhour, Anne" userId="4699ec6b-eabd-4e4a-9a64-848bfecd1a81" providerId="ADAL" clId="{F4CE6DD7-533D-4336-90A8-47E280A2922D}" dt="2022-09-12T17:16:39.115" v="255" actId="47"/>
        <pc:sldMasterMkLst>
          <pc:docMk/>
          <pc:sldMasterMk cId="33939431" sldId="2147483671"/>
        </pc:sldMasterMkLst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1082887364" sldId="2147483672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4139638641" sldId="2147483673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1694636275" sldId="2147483674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2799864678" sldId="2147483675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3887947266" sldId="2147483676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4163033073" sldId="2147483677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981183525" sldId="2147483678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1473650215" sldId="2147483679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424952458" sldId="2147483680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1718148093" sldId="2147483681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2439147522" sldId="2147483682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249299292" sldId="2147483683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788306689" sldId="2147483684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33939431" sldId="2147483671"/>
            <pc:sldLayoutMk cId="1442651979" sldId="2147483685"/>
          </pc:sldLayoutMkLst>
        </pc:sldLayoutChg>
      </pc:sldMasterChg>
      <pc:sldMasterChg chg="del delSldLayout">
        <pc:chgData name="Ridenhour, Anne" userId="4699ec6b-eabd-4e4a-9a64-848bfecd1a81" providerId="ADAL" clId="{F4CE6DD7-533D-4336-90A8-47E280A2922D}" dt="2022-09-12T17:16:39.115" v="255" actId="47"/>
        <pc:sldMasterMkLst>
          <pc:docMk/>
          <pc:sldMasterMk cId="2498074095" sldId="2147483686"/>
        </pc:sldMasterMkLst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445088670" sldId="2147483687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631911941" sldId="2147483688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811101661" sldId="2147483689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1644719593" sldId="2147483690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13395597" sldId="2147483691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3263579165" sldId="2147483692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1138854631" sldId="2147483693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2596746635" sldId="2147483694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607728953" sldId="2147483695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2404138576" sldId="2147483696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127344408" sldId="2147483697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1160978939" sldId="2147483698"/>
          </pc:sldLayoutMkLst>
        </pc:sldLayoutChg>
        <pc:sldLayoutChg chg="del">
          <pc:chgData name="Ridenhour, Anne" userId="4699ec6b-eabd-4e4a-9a64-848bfecd1a81" providerId="ADAL" clId="{F4CE6DD7-533D-4336-90A8-47E280A2922D}" dt="2022-09-12T17:16:39.115" v="255" actId="47"/>
          <pc:sldLayoutMkLst>
            <pc:docMk/>
            <pc:sldMasterMk cId="2498074095" sldId="2147483686"/>
            <pc:sldLayoutMk cId="2257983412" sldId="2147483699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BF33BE-A610-413C-AFAE-05C727DE4A3E}" type="datetimeFigureOut">
              <a:rPr lang="en-US" smtClean="0"/>
              <a:t>9/1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ED1F93-03BC-4031-86D5-41FDF98D7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309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A34052-12FB-4B01-8A2E-D87AD7371E9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2104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A34052-12FB-4B01-8A2E-D87AD7371E9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4451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347472"/>
            <a:ext cx="11241024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2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75823" y="1005840"/>
            <a:ext cx="11240676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6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11974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7999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725108"/>
            <a:ext cx="4389120" cy="2132892"/>
          </a:xfrm>
          <a:solidFill>
            <a:schemeClr val="bg1"/>
          </a:solidFill>
        </p:spPr>
        <p:txBody>
          <a:bodyPr vert="horz" lIns="365760" tIns="365760" rIns="365760" bIns="1280160" rtlCol="0" anchor="b" anchorCtr="0">
            <a:spAutoFit/>
          </a:bodyPr>
          <a:lstStyle>
            <a:lvl1pPr>
              <a:lnSpc>
                <a:spcPct val="90000"/>
              </a:lnSpc>
              <a:defRPr lang="en-US" sz="3600" b="1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2" y="5694829"/>
            <a:ext cx="4389120" cy="1163171"/>
          </a:xfrm>
        </p:spPr>
        <p:txBody>
          <a:bodyPr vert="horz" lIns="365760" tIns="0" rIns="365760" bIns="0" rtlCol="0">
            <a:noAutofit/>
          </a:bodyPr>
          <a:lstStyle>
            <a:lvl1pPr marL="0" indent="0">
              <a:buNone/>
              <a:defRPr lang="en-US" sz="1400" baseline="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46915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2356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608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47390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9567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52800" cy="1993390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45559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8431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ster Block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14400" y="1217629"/>
            <a:ext cx="10363200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500" b="1"/>
              <a:t>Do not use this</a:t>
            </a:r>
            <a:r>
              <a:rPr lang="en-US" sz="11500" b="1" baseline="0"/>
              <a:t> layout</a:t>
            </a:r>
          </a:p>
          <a:p>
            <a:pPr algn="ctr"/>
            <a:endParaRPr lang="en-US" sz="3200" b="1" baseline="0"/>
          </a:p>
          <a:p>
            <a:pPr algn="ctr"/>
            <a:r>
              <a:rPr lang="en-US" sz="3200" b="0" baseline="0"/>
              <a:t>Delete any master slides that occur after this layout</a:t>
            </a:r>
            <a:endParaRPr lang="en-US" sz="3200" b="0"/>
          </a:p>
        </p:txBody>
      </p:sp>
    </p:spTree>
    <p:extLst>
      <p:ext uri="{BB962C8B-B14F-4D97-AF65-F5344CB8AC3E}">
        <p14:creationId xmlns:p14="http://schemas.microsoft.com/office/powerpoint/2010/main" val="956409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979526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595422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828800"/>
            <a:ext cx="10363200" cy="4346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912" y="718263"/>
            <a:ext cx="10362688" cy="879756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914719" y="6444147"/>
            <a:ext cx="334707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80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‹#›</a:t>
            </a:fld>
            <a:r>
              <a:rPr lang="en-US" sz="800">
                <a:solidFill>
                  <a:schemeClr val="accent5">
                    <a:lumMod val="60000"/>
                    <a:lumOff val="40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44341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800" b="0" i="0" kern="1200" cap="none" spc="-100" baseline="0">
          <a:solidFill>
            <a:schemeClr val="tx1"/>
          </a:solidFill>
          <a:latin typeface="+mj-lt"/>
          <a:ea typeface="Bebas Neue" charset="0"/>
          <a:cs typeface="Chronicle Display Black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76">
          <p15:clr>
            <a:srgbClr val="F26B43"/>
          </p15:clr>
        </p15:guide>
        <p15:guide id="4" pos="7104">
          <p15:clr>
            <a:srgbClr val="F26B43"/>
          </p15:clr>
        </p15:guide>
        <p15:guide id="5" pos="2976">
          <p15:clr>
            <a:srgbClr val="F26B43"/>
          </p15:clr>
        </p15:guide>
        <p15:guide id="6" orient="horz" pos="1152">
          <p15:clr>
            <a:srgbClr val="F26B43"/>
          </p15:clr>
        </p15:guide>
        <p15:guide id="7" pos="26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A021E7C-7B0D-4539-BAA5-7E59F7724632}"/>
              </a:ext>
            </a:extLst>
          </p:cNvPr>
          <p:cNvGrpSpPr/>
          <p:nvPr/>
        </p:nvGrpSpPr>
        <p:grpSpPr>
          <a:xfrm>
            <a:off x="4533899" y="0"/>
            <a:ext cx="7664833" cy="6868390"/>
            <a:chOff x="4533899" y="0"/>
            <a:chExt cx="7664833" cy="686839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9601A9B-25E1-4804-ADA0-9616AA461B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2780" r="14448"/>
            <a:stretch/>
          </p:blipFill>
          <p:spPr>
            <a:xfrm>
              <a:off x="4533899" y="0"/>
              <a:ext cx="7664833" cy="6868390"/>
            </a:xfrm>
            <a:prstGeom prst="rect">
              <a:avLst/>
            </a:prstGeom>
          </p:spPr>
        </p:pic>
        <p:pic>
          <p:nvPicPr>
            <p:cNvPr id="14" name="Picture 4" descr="Peloton® | Workouts Streamed Live &amp;amp; On-Demand">
              <a:extLst>
                <a:ext uri="{FF2B5EF4-FFF2-40B4-BE49-F238E27FC236}">
                  <a16:creationId xmlns:a16="http://schemas.microsoft.com/office/drawing/2014/main" id="{38909FE3-B7E4-4FB6-9B52-08EDEC0303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496" t="30523" r="20366" b="34024"/>
            <a:stretch/>
          </p:blipFill>
          <p:spPr bwMode="auto">
            <a:xfrm>
              <a:off x="5303555" y="5743024"/>
              <a:ext cx="3548067" cy="11113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7" imgW="475" imgH="476" progId="TCLayout.ActiveDocument.1">
                  <p:embed/>
                </p:oleObj>
              </mc:Choice>
              <mc:Fallback>
                <p:oleObj name="think-cell Slide" r:id="rId7" imgW="475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>
            <a:extLst>
              <a:ext uri="{FF2B5EF4-FFF2-40B4-BE49-F238E27FC236}">
                <a16:creationId xmlns:a16="http://schemas.microsoft.com/office/drawing/2014/main" id="{280E117A-0AB1-42BD-9BA9-20BB571CDA90}"/>
              </a:ext>
            </a:extLst>
          </p:cNvPr>
          <p:cNvSpPr/>
          <p:nvPr/>
        </p:nvSpPr>
        <p:spPr>
          <a:xfrm rot="1329021">
            <a:off x="-894281" y="-1770279"/>
            <a:ext cx="7515664" cy="9408413"/>
          </a:xfrm>
          <a:custGeom>
            <a:avLst/>
            <a:gdLst>
              <a:gd name="connsiteX0" fmla="*/ 0 w 7515664"/>
              <a:gd name="connsiteY0" fmla="*/ 3059491 h 9408413"/>
              <a:gd name="connsiteX1" fmla="*/ 7515664 w 7515664"/>
              <a:gd name="connsiteY1" fmla="*/ 0 h 9408413"/>
              <a:gd name="connsiteX2" fmla="*/ 7515664 w 7515664"/>
              <a:gd name="connsiteY2" fmla="*/ 7401038 h 9408413"/>
              <a:gd name="connsiteX3" fmla="*/ 2584531 w 7515664"/>
              <a:gd name="connsiteY3" fmla="*/ 9408413 h 9408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5664" h="9408413">
                <a:moveTo>
                  <a:pt x="0" y="3059491"/>
                </a:moveTo>
                <a:lnTo>
                  <a:pt x="7515664" y="0"/>
                </a:lnTo>
                <a:lnTo>
                  <a:pt x="7515664" y="7401038"/>
                </a:lnTo>
                <a:lnTo>
                  <a:pt x="2584531" y="94084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FF02DD-9DB4-40CA-AB7A-F3B941924FBA}"/>
              </a:ext>
            </a:extLst>
          </p:cNvPr>
          <p:cNvSpPr txBox="1"/>
          <p:nvPr/>
        </p:nvSpPr>
        <p:spPr>
          <a:xfrm>
            <a:off x="269180" y="2914184"/>
            <a:ext cx="62793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Final Project: Pelot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2E58D5-EA0A-45E4-943E-4B6BF151F1C5}"/>
              </a:ext>
            </a:extLst>
          </p:cNvPr>
          <p:cNvSpPr txBox="1"/>
          <p:nvPr/>
        </p:nvSpPr>
        <p:spPr>
          <a:xfrm>
            <a:off x="279434" y="3498959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ODULE 2 ASSIGNMENT</a:t>
            </a:r>
          </a:p>
        </p:txBody>
      </p:sp>
    </p:spTree>
    <p:extLst>
      <p:ext uri="{BB962C8B-B14F-4D97-AF65-F5344CB8AC3E}">
        <p14:creationId xmlns:p14="http://schemas.microsoft.com/office/powerpoint/2010/main" val="15465504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8F199-165D-4EA3-8450-B3D0099DB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cussion Ques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618BF4-72F7-4C3C-B425-AD8422205467}"/>
              </a:ext>
            </a:extLst>
          </p:cNvPr>
          <p:cNvSpPr txBox="1"/>
          <p:nvPr/>
        </p:nvSpPr>
        <p:spPr>
          <a:xfrm>
            <a:off x="1245557" y="2589477"/>
            <a:ext cx="9507941" cy="307777"/>
          </a:xfrm>
          <a:prstGeom prst="rect">
            <a:avLst/>
          </a:prstGeom>
          <a:solidFill>
            <a:schemeClr val="bg1">
              <a:alpha val="29000"/>
            </a:schemeClr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ow can you apply the ideas discussed today to the Peloton case?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80D6134-C07A-4FAF-AF85-9E4EB57E8328}"/>
              </a:ext>
            </a:extLst>
          </p:cNvPr>
          <p:cNvCxnSpPr/>
          <p:nvPr/>
        </p:nvCxnSpPr>
        <p:spPr>
          <a:xfrm>
            <a:off x="0" y="2701220"/>
            <a:ext cx="1009934" cy="0"/>
          </a:xfrm>
          <a:prstGeom prst="line">
            <a:avLst/>
          </a:prstGeom>
          <a:ln w="28575">
            <a:solidFill>
              <a:schemeClr val="accent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8563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730A7635-9D09-49DD-B9A0-E458A2A50084}"/>
              </a:ext>
            </a:extLst>
          </p:cNvPr>
          <p:cNvSpPr/>
          <p:nvPr/>
        </p:nvSpPr>
        <p:spPr bwMode="gray">
          <a:xfrm>
            <a:off x="3362255" y="1874588"/>
            <a:ext cx="2424545" cy="2878782"/>
          </a:xfrm>
          <a:prstGeom prst="rect">
            <a:avLst/>
          </a:prstGeom>
          <a:solidFill>
            <a:srgbClr val="E5F4D4"/>
          </a:solidFill>
          <a:ln w="19050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23C2B6-CA28-4D3B-A61A-E3475B99F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Structur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208E1F-837D-491E-B547-B79C88754A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600"/>
              <a:t>The project case is an opportunity to devise a strategic recommendation through application of the SGT strategy frameworks learned in the trainings 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2478CC44-39FF-4614-84ED-28AB04356926}"/>
              </a:ext>
            </a:extLst>
          </p:cNvPr>
          <p:cNvGrpSpPr/>
          <p:nvPr/>
        </p:nvGrpSpPr>
        <p:grpSpPr>
          <a:xfrm>
            <a:off x="914561" y="2444889"/>
            <a:ext cx="1926455" cy="2025325"/>
            <a:chOff x="914561" y="2649076"/>
            <a:chExt cx="1926455" cy="2025325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9F4E1A7-459E-498D-8CBC-ACBC9FF7D76A}"/>
                </a:ext>
              </a:extLst>
            </p:cNvPr>
            <p:cNvSpPr txBox="1"/>
            <p:nvPr/>
          </p:nvSpPr>
          <p:spPr>
            <a:xfrm>
              <a:off x="914561" y="2649076"/>
              <a:ext cx="19264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ODULE 1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7C80CBD-BE87-484B-9F6E-6E0E844744BA}"/>
                </a:ext>
              </a:extLst>
            </p:cNvPr>
            <p:cNvSpPr txBox="1"/>
            <p:nvPr/>
          </p:nvSpPr>
          <p:spPr>
            <a:xfrm>
              <a:off x="914561" y="3169296"/>
              <a:ext cx="192645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NTRO TO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LAYING TO WIN 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C722DAA1-01DE-45E2-8AB7-97BF3E771D27}"/>
                </a:ext>
              </a:extLst>
            </p:cNvPr>
            <p:cNvSpPr txBox="1"/>
            <p:nvPr/>
          </p:nvSpPr>
          <p:spPr>
            <a:xfrm>
              <a:off x="914561" y="3843404"/>
              <a:ext cx="192645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Review case study files, understand Peloton’s current strategy, and identify issues 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1828883-74EB-4B2D-ABAB-653E121F9F43}"/>
              </a:ext>
            </a:extLst>
          </p:cNvPr>
          <p:cNvGrpSpPr/>
          <p:nvPr/>
        </p:nvGrpSpPr>
        <p:grpSpPr>
          <a:xfrm>
            <a:off x="1657125" y="1921547"/>
            <a:ext cx="441326" cy="441327"/>
            <a:chOff x="9927916" y="449206"/>
            <a:chExt cx="587405" cy="587407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133F936-CE86-4D97-8D79-A28CAC2B0AE9}"/>
                </a:ext>
              </a:extLst>
            </p:cNvPr>
            <p:cNvSpPr/>
            <p:nvPr/>
          </p:nvSpPr>
          <p:spPr>
            <a:xfrm>
              <a:off x="10021390" y="567046"/>
              <a:ext cx="383438" cy="3834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4" name="Freeform 43">
              <a:extLst>
                <a:ext uri="{FF2B5EF4-FFF2-40B4-BE49-F238E27FC236}">
                  <a16:creationId xmlns:a16="http://schemas.microsoft.com/office/drawing/2014/main" id="{177F2779-F8F1-467C-99AA-3A11D21FAAE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27916" y="449206"/>
              <a:ext cx="587405" cy="587407"/>
            </a:xfrm>
            <a:custGeom>
              <a:avLst/>
              <a:gdLst>
                <a:gd name="T0" fmla="*/ 160 w 512"/>
                <a:gd name="T1" fmla="*/ 394 h 512"/>
                <a:gd name="T2" fmla="*/ 154 w 512"/>
                <a:gd name="T3" fmla="*/ 393 h 512"/>
                <a:gd name="T4" fmla="*/ 149 w 512"/>
                <a:gd name="T5" fmla="*/ 384 h 512"/>
                <a:gd name="T6" fmla="*/ 149 w 512"/>
                <a:gd name="T7" fmla="*/ 128 h 512"/>
                <a:gd name="T8" fmla="*/ 154 w 512"/>
                <a:gd name="T9" fmla="*/ 118 h 512"/>
                <a:gd name="T10" fmla="*/ 165 w 512"/>
                <a:gd name="T11" fmla="*/ 118 h 512"/>
                <a:gd name="T12" fmla="*/ 399 w 512"/>
                <a:gd name="T13" fmla="*/ 246 h 512"/>
                <a:gd name="T14" fmla="*/ 405 w 512"/>
                <a:gd name="T15" fmla="*/ 256 h 512"/>
                <a:gd name="T16" fmla="*/ 399 w 512"/>
                <a:gd name="T17" fmla="*/ 265 h 512"/>
                <a:gd name="T18" fmla="*/ 165 w 512"/>
                <a:gd name="T19" fmla="*/ 393 h 512"/>
                <a:gd name="T20" fmla="*/ 160 w 512"/>
                <a:gd name="T21" fmla="*/ 394 h 512"/>
                <a:gd name="T22" fmla="*/ 170 w 512"/>
                <a:gd name="T23" fmla="*/ 146 h 512"/>
                <a:gd name="T24" fmla="*/ 170 w 512"/>
                <a:gd name="T25" fmla="*/ 366 h 512"/>
                <a:gd name="T26" fmla="*/ 372 w 512"/>
                <a:gd name="T27" fmla="*/ 256 h 512"/>
                <a:gd name="T28" fmla="*/ 170 w 512"/>
                <a:gd name="T29" fmla="*/ 146 h 512"/>
                <a:gd name="T30" fmla="*/ 256 w 512"/>
                <a:gd name="T31" fmla="*/ 0 h 512"/>
                <a:gd name="T32" fmla="*/ 0 w 512"/>
                <a:gd name="T33" fmla="*/ 256 h 512"/>
                <a:gd name="T34" fmla="*/ 256 w 512"/>
                <a:gd name="T35" fmla="*/ 512 h 512"/>
                <a:gd name="T36" fmla="*/ 512 w 512"/>
                <a:gd name="T37" fmla="*/ 256 h 512"/>
                <a:gd name="T38" fmla="*/ 256 w 512"/>
                <a:gd name="T3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2" h="512">
                  <a:moveTo>
                    <a:pt x="160" y="394"/>
                  </a:moveTo>
                  <a:cubicBezTo>
                    <a:pt x="158" y="394"/>
                    <a:pt x="156" y="394"/>
                    <a:pt x="154" y="393"/>
                  </a:cubicBezTo>
                  <a:cubicBezTo>
                    <a:pt x="151" y="391"/>
                    <a:pt x="149" y="387"/>
                    <a:pt x="149" y="384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149" y="124"/>
                    <a:pt x="151" y="120"/>
                    <a:pt x="154" y="118"/>
                  </a:cubicBezTo>
                  <a:cubicBezTo>
                    <a:pt x="157" y="117"/>
                    <a:pt x="161" y="117"/>
                    <a:pt x="165" y="118"/>
                  </a:cubicBezTo>
                  <a:cubicBezTo>
                    <a:pt x="399" y="246"/>
                    <a:pt x="399" y="246"/>
                    <a:pt x="399" y="246"/>
                  </a:cubicBezTo>
                  <a:cubicBezTo>
                    <a:pt x="403" y="248"/>
                    <a:pt x="405" y="252"/>
                    <a:pt x="405" y="256"/>
                  </a:cubicBezTo>
                  <a:cubicBezTo>
                    <a:pt x="405" y="260"/>
                    <a:pt x="403" y="263"/>
                    <a:pt x="399" y="265"/>
                  </a:cubicBezTo>
                  <a:cubicBezTo>
                    <a:pt x="165" y="393"/>
                    <a:pt x="165" y="393"/>
                    <a:pt x="165" y="393"/>
                  </a:cubicBezTo>
                  <a:cubicBezTo>
                    <a:pt x="163" y="394"/>
                    <a:pt x="161" y="394"/>
                    <a:pt x="160" y="394"/>
                  </a:cubicBezTo>
                  <a:close/>
                  <a:moveTo>
                    <a:pt x="170" y="146"/>
                  </a:moveTo>
                  <a:cubicBezTo>
                    <a:pt x="170" y="366"/>
                    <a:pt x="170" y="366"/>
                    <a:pt x="170" y="366"/>
                  </a:cubicBezTo>
                  <a:cubicBezTo>
                    <a:pt x="372" y="256"/>
                    <a:pt x="372" y="256"/>
                    <a:pt x="372" y="256"/>
                  </a:cubicBezTo>
                  <a:lnTo>
                    <a:pt x="170" y="146"/>
                  </a:ln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C98B290C-BDA8-4727-8E71-805384B58896}"/>
              </a:ext>
            </a:extLst>
          </p:cNvPr>
          <p:cNvGrpSpPr/>
          <p:nvPr/>
        </p:nvGrpSpPr>
        <p:grpSpPr>
          <a:xfrm>
            <a:off x="3534110" y="2444889"/>
            <a:ext cx="2119101" cy="2025325"/>
            <a:chOff x="3198933" y="2649076"/>
            <a:chExt cx="2119101" cy="2025325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8F0C0988-B8CE-4876-805F-A82DF70E9EA0}"/>
                </a:ext>
              </a:extLst>
            </p:cNvPr>
            <p:cNvSpPr txBox="1"/>
            <p:nvPr/>
          </p:nvSpPr>
          <p:spPr>
            <a:xfrm>
              <a:off x="3295256" y="2649076"/>
              <a:ext cx="19264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ODULE 2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A229A68-94FB-48C9-8820-0FBCF780610C}"/>
                </a:ext>
              </a:extLst>
            </p:cNvPr>
            <p:cNvSpPr txBox="1"/>
            <p:nvPr/>
          </p:nvSpPr>
          <p:spPr>
            <a:xfrm>
              <a:off x="3198933" y="3169296"/>
              <a:ext cx="211910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HOICE STRUCTURING RESEARCH &amp; ANALYSIS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8A62EA91-534B-4728-806B-B76AA69F8800}"/>
                </a:ext>
              </a:extLst>
            </p:cNvPr>
            <p:cNvSpPr txBox="1"/>
            <p:nvPr/>
          </p:nvSpPr>
          <p:spPr>
            <a:xfrm>
              <a:off x="3295256" y="3843404"/>
              <a:ext cx="192645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deate, brainstorm strategic options, and identify conditions and barriers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85AA14D-BD57-4D3B-B252-4454A8B4DF28}"/>
              </a:ext>
            </a:extLst>
          </p:cNvPr>
          <p:cNvGrpSpPr/>
          <p:nvPr/>
        </p:nvGrpSpPr>
        <p:grpSpPr>
          <a:xfrm>
            <a:off x="4374204" y="1923962"/>
            <a:ext cx="438912" cy="438912"/>
            <a:chOff x="5672036" y="1832949"/>
            <a:chExt cx="587407" cy="587407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C449F4F-BCEB-4EE6-B0A6-FDA1CA2704E9}"/>
                </a:ext>
              </a:extLst>
            </p:cNvPr>
            <p:cNvSpPr/>
            <p:nvPr/>
          </p:nvSpPr>
          <p:spPr>
            <a:xfrm>
              <a:off x="5790775" y="1920913"/>
              <a:ext cx="397859" cy="3978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Freeform 214">
              <a:extLst>
                <a:ext uri="{FF2B5EF4-FFF2-40B4-BE49-F238E27FC236}">
                  <a16:creationId xmlns:a16="http://schemas.microsoft.com/office/drawing/2014/main" id="{1EEF0500-61EB-4B2E-9A4D-F0E9678E6E1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672036" y="1832949"/>
              <a:ext cx="587407" cy="587407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81 w 512"/>
                <a:gd name="T11" fmla="*/ 157 h 512"/>
                <a:gd name="T12" fmla="*/ 373 w 512"/>
                <a:gd name="T13" fmla="*/ 160 h 512"/>
                <a:gd name="T14" fmla="*/ 365 w 512"/>
                <a:gd name="T15" fmla="*/ 157 h 512"/>
                <a:gd name="T16" fmla="*/ 341 w 512"/>
                <a:gd name="T17" fmla="*/ 132 h 512"/>
                <a:gd name="T18" fmla="*/ 341 w 512"/>
                <a:gd name="T19" fmla="*/ 202 h 512"/>
                <a:gd name="T20" fmla="*/ 280 w 512"/>
                <a:gd name="T21" fmla="*/ 302 h 512"/>
                <a:gd name="T22" fmla="*/ 275 w 512"/>
                <a:gd name="T23" fmla="*/ 306 h 512"/>
                <a:gd name="T24" fmla="*/ 266 w 512"/>
                <a:gd name="T25" fmla="*/ 320 h 512"/>
                <a:gd name="T26" fmla="*/ 266 w 512"/>
                <a:gd name="T27" fmla="*/ 320 h 512"/>
                <a:gd name="T28" fmla="*/ 266 w 512"/>
                <a:gd name="T29" fmla="*/ 405 h 512"/>
                <a:gd name="T30" fmla="*/ 256 w 512"/>
                <a:gd name="T31" fmla="*/ 416 h 512"/>
                <a:gd name="T32" fmla="*/ 245 w 512"/>
                <a:gd name="T33" fmla="*/ 405 h 512"/>
                <a:gd name="T34" fmla="*/ 245 w 512"/>
                <a:gd name="T35" fmla="*/ 320 h 512"/>
                <a:gd name="T36" fmla="*/ 245 w 512"/>
                <a:gd name="T37" fmla="*/ 319 h 512"/>
                <a:gd name="T38" fmla="*/ 236 w 512"/>
                <a:gd name="T39" fmla="*/ 306 h 512"/>
                <a:gd name="T40" fmla="*/ 231 w 512"/>
                <a:gd name="T41" fmla="*/ 302 h 512"/>
                <a:gd name="T42" fmla="*/ 170 w 512"/>
                <a:gd name="T43" fmla="*/ 202 h 512"/>
                <a:gd name="T44" fmla="*/ 170 w 512"/>
                <a:gd name="T45" fmla="*/ 132 h 512"/>
                <a:gd name="T46" fmla="*/ 146 w 512"/>
                <a:gd name="T47" fmla="*/ 157 h 512"/>
                <a:gd name="T48" fmla="*/ 138 w 512"/>
                <a:gd name="T49" fmla="*/ 160 h 512"/>
                <a:gd name="T50" fmla="*/ 131 w 512"/>
                <a:gd name="T51" fmla="*/ 157 h 512"/>
                <a:gd name="T52" fmla="*/ 131 w 512"/>
                <a:gd name="T53" fmla="*/ 141 h 512"/>
                <a:gd name="T54" fmla="*/ 173 w 512"/>
                <a:gd name="T55" fmla="*/ 99 h 512"/>
                <a:gd name="T56" fmla="*/ 177 w 512"/>
                <a:gd name="T57" fmla="*/ 96 h 512"/>
                <a:gd name="T58" fmla="*/ 185 w 512"/>
                <a:gd name="T59" fmla="*/ 96 h 512"/>
                <a:gd name="T60" fmla="*/ 189 w 512"/>
                <a:gd name="T61" fmla="*/ 99 h 512"/>
                <a:gd name="T62" fmla="*/ 231 w 512"/>
                <a:gd name="T63" fmla="*/ 141 h 512"/>
                <a:gd name="T64" fmla="*/ 231 w 512"/>
                <a:gd name="T65" fmla="*/ 157 h 512"/>
                <a:gd name="T66" fmla="*/ 224 w 512"/>
                <a:gd name="T67" fmla="*/ 160 h 512"/>
                <a:gd name="T68" fmla="*/ 216 w 512"/>
                <a:gd name="T69" fmla="*/ 157 h 512"/>
                <a:gd name="T70" fmla="*/ 192 w 512"/>
                <a:gd name="T71" fmla="*/ 132 h 512"/>
                <a:gd name="T72" fmla="*/ 192 w 512"/>
                <a:gd name="T73" fmla="*/ 202 h 512"/>
                <a:gd name="T74" fmla="*/ 245 w 512"/>
                <a:gd name="T75" fmla="*/ 286 h 512"/>
                <a:gd name="T76" fmla="*/ 251 w 512"/>
                <a:gd name="T77" fmla="*/ 290 h 512"/>
                <a:gd name="T78" fmla="*/ 256 w 512"/>
                <a:gd name="T79" fmla="*/ 295 h 512"/>
                <a:gd name="T80" fmla="*/ 261 w 512"/>
                <a:gd name="T81" fmla="*/ 290 h 512"/>
                <a:gd name="T82" fmla="*/ 266 w 512"/>
                <a:gd name="T83" fmla="*/ 286 h 512"/>
                <a:gd name="T84" fmla="*/ 320 w 512"/>
                <a:gd name="T85" fmla="*/ 202 h 512"/>
                <a:gd name="T86" fmla="*/ 320 w 512"/>
                <a:gd name="T87" fmla="*/ 132 h 512"/>
                <a:gd name="T88" fmla="*/ 295 w 512"/>
                <a:gd name="T89" fmla="*/ 157 h 512"/>
                <a:gd name="T90" fmla="*/ 288 w 512"/>
                <a:gd name="T91" fmla="*/ 160 h 512"/>
                <a:gd name="T92" fmla="*/ 280 w 512"/>
                <a:gd name="T93" fmla="*/ 157 h 512"/>
                <a:gd name="T94" fmla="*/ 280 w 512"/>
                <a:gd name="T95" fmla="*/ 141 h 512"/>
                <a:gd name="T96" fmla="*/ 323 w 512"/>
                <a:gd name="T97" fmla="*/ 99 h 512"/>
                <a:gd name="T98" fmla="*/ 326 w 512"/>
                <a:gd name="T99" fmla="*/ 96 h 512"/>
                <a:gd name="T100" fmla="*/ 334 w 512"/>
                <a:gd name="T101" fmla="*/ 96 h 512"/>
                <a:gd name="T102" fmla="*/ 338 w 512"/>
                <a:gd name="T103" fmla="*/ 99 h 512"/>
                <a:gd name="T104" fmla="*/ 381 w 512"/>
                <a:gd name="T105" fmla="*/ 141 h 512"/>
                <a:gd name="T106" fmla="*/ 381 w 512"/>
                <a:gd name="T107" fmla="*/ 15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81" y="157"/>
                  </a:moveTo>
                  <a:cubicBezTo>
                    <a:pt x="378" y="159"/>
                    <a:pt x="376" y="160"/>
                    <a:pt x="373" y="160"/>
                  </a:cubicBezTo>
                  <a:cubicBezTo>
                    <a:pt x="370" y="160"/>
                    <a:pt x="368" y="159"/>
                    <a:pt x="365" y="157"/>
                  </a:cubicBezTo>
                  <a:cubicBezTo>
                    <a:pt x="341" y="132"/>
                    <a:pt x="341" y="132"/>
                    <a:pt x="341" y="132"/>
                  </a:cubicBezTo>
                  <a:cubicBezTo>
                    <a:pt x="341" y="202"/>
                    <a:pt x="341" y="202"/>
                    <a:pt x="341" y="202"/>
                  </a:cubicBezTo>
                  <a:cubicBezTo>
                    <a:pt x="341" y="248"/>
                    <a:pt x="303" y="282"/>
                    <a:pt x="280" y="302"/>
                  </a:cubicBezTo>
                  <a:cubicBezTo>
                    <a:pt x="275" y="306"/>
                    <a:pt x="275" y="306"/>
                    <a:pt x="275" y="306"/>
                  </a:cubicBezTo>
                  <a:cubicBezTo>
                    <a:pt x="266" y="314"/>
                    <a:pt x="266" y="318"/>
                    <a:pt x="266" y="320"/>
                  </a:cubicBezTo>
                  <a:cubicBezTo>
                    <a:pt x="266" y="320"/>
                    <a:pt x="266" y="320"/>
                    <a:pt x="266" y="320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320"/>
                    <a:pt x="245" y="320"/>
                    <a:pt x="245" y="320"/>
                  </a:cubicBezTo>
                  <a:cubicBezTo>
                    <a:pt x="245" y="319"/>
                    <a:pt x="245" y="319"/>
                    <a:pt x="245" y="319"/>
                  </a:cubicBezTo>
                  <a:cubicBezTo>
                    <a:pt x="245" y="318"/>
                    <a:pt x="245" y="314"/>
                    <a:pt x="236" y="306"/>
                  </a:cubicBezTo>
                  <a:cubicBezTo>
                    <a:pt x="231" y="302"/>
                    <a:pt x="231" y="302"/>
                    <a:pt x="231" y="302"/>
                  </a:cubicBezTo>
                  <a:cubicBezTo>
                    <a:pt x="208" y="282"/>
                    <a:pt x="170" y="248"/>
                    <a:pt x="170" y="202"/>
                  </a:cubicBezTo>
                  <a:cubicBezTo>
                    <a:pt x="170" y="132"/>
                    <a:pt x="170" y="132"/>
                    <a:pt x="170" y="132"/>
                  </a:cubicBezTo>
                  <a:cubicBezTo>
                    <a:pt x="146" y="157"/>
                    <a:pt x="146" y="157"/>
                    <a:pt x="146" y="157"/>
                  </a:cubicBezTo>
                  <a:cubicBezTo>
                    <a:pt x="144" y="159"/>
                    <a:pt x="141" y="160"/>
                    <a:pt x="138" y="160"/>
                  </a:cubicBezTo>
                  <a:cubicBezTo>
                    <a:pt x="136" y="160"/>
                    <a:pt x="133" y="159"/>
                    <a:pt x="131" y="157"/>
                  </a:cubicBezTo>
                  <a:cubicBezTo>
                    <a:pt x="127" y="152"/>
                    <a:pt x="127" y="146"/>
                    <a:pt x="131" y="141"/>
                  </a:cubicBezTo>
                  <a:cubicBezTo>
                    <a:pt x="173" y="99"/>
                    <a:pt x="173" y="99"/>
                    <a:pt x="173" y="99"/>
                  </a:cubicBezTo>
                  <a:cubicBezTo>
                    <a:pt x="174" y="98"/>
                    <a:pt x="176" y="97"/>
                    <a:pt x="177" y="96"/>
                  </a:cubicBezTo>
                  <a:cubicBezTo>
                    <a:pt x="180" y="95"/>
                    <a:pt x="182" y="95"/>
                    <a:pt x="185" y="96"/>
                  </a:cubicBezTo>
                  <a:cubicBezTo>
                    <a:pt x="186" y="97"/>
                    <a:pt x="188" y="98"/>
                    <a:pt x="189" y="99"/>
                  </a:cubicBezTo>
                  <a:cubicBezTo>
                    <a:pt x="231" y="141"/>
                    <a:pt x="231" y="141"/>
                    <a:pt x="231" y="141"/>
                  </a:cubicBezTo>
                  <a:cubicBezTo>
                    <a:pt x="235" y="146"/>
                    <a:pt x="235" y="152"/>
                    <a:pt x="231" y="157"/>
                  </a:cubicBezTo>
                  <a:cubicBezTo>
                    <a:pt x="229" y="159"/>
                    <a:pt x="226" y="160"/>
                    <a:pt x="224" y="160"/>
                  </a:cubicBezTo>
                  <a:cubicBezTo>
                    <a:pt x="221" y="160"/>
                    <a:pt x="218" y="159"/>
                    <a:pt x="216" y="157"/>
                  </a:cubicBezTo>
                  <a:cubicBezTo>
                    <a:pt x="192" y="132"/>
                    <a:pt x="192" y="132"/>
                    <a:pt x="192" y="132"/>
                  </a:cubicBezTo>
                  <a:cubicBezTo>
                    <a:pt x="192" y="202"/>
                    <a:pt x="192" y="202"/>
                    <a:pt x="192" y="202"/>
                  </a:cubicBezTo>
                  <a:cubicBezTo>
                    <a:pt x="192" y="238"/>
                    <a:pt x="224" y="267"/>
                    <a:pt x="245" y="286"/>
                  </a:cubicBezTo>
                  <a:cubicBezTo>
                    <a:pt x="251" y="290"/>
                    <a:pt x="251" y="290"/>
                    <a:pt x="251" y="290"/>
                  </a:cubicBezTo>
                  <a:cubicBezTo>
                    <a:pt x="252" y="292"/>
                    <a:pt x="254" y="294"/>
                    <a:pt x="256" y="295"/>
                  </a:cubicBezTo>
                  <a:cubicBezTo>
                    <a:pt x="257" y="294"/>
                    <a:pt x="259" y="292"/>
                    <a:pt x="261" y="290"/>
                  </a:cubicBezTo>
                  <a:cubicBezTo>
                    <a:pt x="266" y="286"/>
                    <a:pt x="266" y="286"/>
                    <a:pt x="266" y="286"/>
                  </a:cubicBezTo>
                  <a:cubicBezTo>
                    <a:pt x="287" y="267"/>
                    <a:pt x="320" y="238"/>
                    <a:pt x="320" y="202"/>
                  </a:cubicBezTo>
                  <a:cubicBezTo>
                    <a:pt x="320" y="132"/>
                    <a:pt x="320" y="132"/>
                    <a:pt x="320" y="132"/>
                  </a:cubicBezTo>
                  <a:cubicBezTo>
                    <a:pt x="295" y="157"/>
                    <a:pt x="295" y="157"/>
                    <a:pt x="295" y="157"/>
                  </a:cubicBezTo>
                  <a:cubicBezTo>
                    <a:pt x="293" y="159"/>
                    <a:pt x="290" y="160"/>
                    <a:pt x="288" y="160"/>
                  </a:cubicBezTo>
                  <a:cubicBezTo>
                    <a:pt x="285" y="160"/>
                    <a:pt x="282" y="159"/>
                    <a:pt x="280" y="157"/>
                  </a:cubicBezTo>
                  <a:cubicBezTo>
                    <a:pt x="276" y="152"/>
                    <a:pt x="276" y="146"/>
                    <a:pt x="280" y="141"/>
                  </a:cubicBezTo>
                  <a:cubicBezTo>
                    <a:pt x="323" y="99"/>
                    <a:pt x="323" y="99"/>
                    <a:pt x="323" y="99"/>
                  </a:cubicBezTo>
                  <a:cubicBezTo>
                    <a:pt x="324" y="98"/>
                    <a:pt x="325" y="97"/>
                    <a:pt x="326" y="96"/>
                  </a:cubicBezTo>
                  <a:cubicBezTo>
                    <a:pt x="329" y="95"/>
                    <a:pt x="332" y="95"/>
                    <a:pt x="334" y="96"/>
                  </a:cubicBezTo>
                  <a:cubicBezTo>
                    <a:pt x="336" y="97"/>
                    <a:pt x="337" y="98"/>
                    <a:pt x="338" y="99"/>
                  </a:cubicBezTo>
                  <a:cubicBezTo>
                    <a:pt x="381" y="141"/>
                    <a:pt x="381" y="141"/>
                    <a:pt x="381" y="141"/>
                  </a:cubicBezTo>
                  <a:cubicBezTo>
                    <a:pt x="385" y="146"/>
                    <a:pt x="385" y="152"/>
                    <a:pt x="381" y="15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3AD7DEA-B7EF-4B7C-B9ED-FA142473CD29}"/>
              </a:ext>
            </a:extLst>
          </p:cNvPr>
          <p:cNvGrpSpPr/>
          <p:nvPr/>
        </p:nvGrpSpPr>
        <p:grpSpPr>
          <a:xfrm>
            <a:off x="6346305" y="2444889"/>
            <a:ext cx="2119101" cy="1840659"/>
            <a:chOff x="3198933" y="2649076"/>
            <a:chExt cx="2119101" cy="1840659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DDB3A752-2C78-4782-9D09-7E91B1283338}"/>
                </a:ext>
              </a:extLst>
            </p:cNvPr>
            <p:cNvSpPr txBox="1"/>
            <p:nvPr/>
          </p:nvSpPr>
          <p:spPr>
            <a:xfrm>
              <a:off x="3295256" y="2649076"/>
              <a:ext cx="19264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ODULE 3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42D6523-CC81-47F2-9AA9-DD459607D68C}"/>
                </a:ext>
              </a:extLst>
            </p:cNvPr>
            <p:cNvSpPr txBox="1"/>
            <p:nvPr/>
          </p:nvSpPr>
          <p:spPr>
            <a:xfrm>
              <a:off x="3198933" y="3169296"/>
              <a:ext cx="211910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HYPOTHESI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TESTING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CA916516-FE07-44DA-967F-7D01723AB051}"/>
                </a:ext>
              </a:extLst>
            </p:cNvPr>
            <p:cNvSpPr txBox="1"/>
            <p:nvPr/>
          </p:nvSpPr>
          <p:spPr>
            <a:xfrm>
              <a:off x="3295256" y="3843404"/>
              <a:ext cx="19264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onduct critical testing for specified strategic options. 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F4F15DDA-66DE-452C-B592-7B2119683AAD}"/>
              </a:ext>
            </a:extLst>
          </p:cNvPr>
          <p:cNvGrpSpPr/>
          <p:nvPr/>
        </p:nvGrpSpPr>
        <p:grpSpPr>
          <a:xfrm>
            <a:off x="7186399" y="1923962"/>
            <a:ext cx="438912" cy="438912"/>
            <a:chOff x="9227926" y="3062369"/>
            <a:chExt cx="593446" cy="593446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FBC1FD3F-7913-422A-831A-4996F9AEECDE}"/>
                </a:ext>
              </a:extLst>
            </p:cNvPr>
            <p:cNvSpPr/>
            <p:nvPr/>
          </p:nvSpPr>
          <p:spPr>
            <a:xfrm>
              <a:off x="9335972" y="3157368"/>
              <a:ext cx="397409" cy="3974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8" name="Freeform 795">
              <a:extLst>
                <a:ext uri="{FF2B5EF4-FFF2-40B4-BE49-F238E27FC236}">
                  <a16:creationId xmlns:a16="http://schemas.microsoft.com/office/drawing/2014/main" id="{895C1A26-BB6A-4C95-B4DB-5ECDA4E5D6E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227926" y="3062369"/>
              <a:ext cx="593446" cy="593446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221 w 512"/>
                <a:gd name="T5" fmla="*/ 392 h 512"/>
                <a:gd name="T6" fmla="*/ 206 w 512"/>
                <a:gd name="T7" fmla="*/ 392 h 512"/>
                <a:gd name="T8" fmla="*/ 135 w 512"/>
                <a:gd name="T9" fmla="*/ 391 h 512"/>
                <a:gd name="T10" fmla="*/ 120 w 512"/>
                <a:gd name="T11" fmla="*/ 391 h 512"/>
                <a:gd name="T12" fmla="*/ 155 w 512"/>
                <a:gd name="T13" fmla="*/ 341 h 512"/>
                <a:gd name="T14" fmla="*/ 120 w 512"/>
                <a:gd name="T15" fmla="*/ 290 h 512"/>
                <a:gd name="T16" fmla="*/ 170 w 512"/>
                <a:gd name="T17" fmla="*/ 326 h 512"/>
                <a:gd name="T18" fmla="*/ 221 w 512"/>
                <a:gd name="T19" fmla="*/ 291 h 512"/>
                <a:gd name="T20" fmla="*/ 185 w 512"/>
                <a:gd name="T21" fmla="*/ 341 h 512"/>
                <a:gd name="T22" fmla="*/ 221 w 512"/>
                <a:gd name="T23" fmla="*/ 392 h 512"/>
                <a:gd name="T24" fmla="*/ 181 w 512"/>
                <a:gd name="T25" fmla="*/ 181 h 512"/>
                <a:gd name="T26" fmla="*/ 170 w 512"/>
                <a:gd name="T27" fmla="*/ 234 h 512"/>
                <a:gd name="T28" fmla="*/ 160 w 512"/>
                <a:gd name="T29" fmla="*/ 181 h 512"/>
                <a:gd name="T30" fmla="*/ 106 w 512"/>
                <a:gd name="T31" fmla="*/ 170 h 512"/>
                <a:gd name="T32" fmla="*/ 160 w 512"/>
                <a:gd name="T33" fmla="*/ 160 h 512"/>
                <a:gd name="T34" fmla="*/ 170 w 512"/>
                <a:gd name="T35" fmla="*/ 106 h 512"/>
                <a:gd name="T36" fmla="*/ 181 w 512"/>
                <a:gd name="T37" fmla="*/ 160 h 512"/>
                <a:gd name="T38" fmla="*/ 234 w 512"/>
                <a:gd name="T39" fmla="*/ 170 h 512"/>
                <a:gd name="T40" fmla="*/ 344 w 512"/>
                <a:gd name="T41" fmla="*/ 120 h 512"/>
                <a:gd name="T42" fmla="*/ 362 w 512"/>
                <a:gd name="T43" fmla="*/ 128 h 512"/>
                <a:gd name="T44" fmla="*/ 352 w 512"/>
                <a:gd name="T45" fmla="*/ 138 h 512"/>
                <a:gd name="T46" fmla="*/ 341 w 512"/>
                <a:gd name="T47" fmla="*/ 128 h 512"/>
                <a:gd name="T48" fmla="*/ 405 w 512"/>
                <a:gd name="T49" fmla="*/ 352 h 512"/>
                <a:gd name="T50" fmla="*/ 288 w 512"/>
                <a:gd name="T51" fmla="*/ 341 h 512"/>
                <a:gd name="T52" fmla="*/ 405 w 512"/>
                <a:gd name="T53" fmla="*/ 330 h 512"/>
                <a:gd name="T54" fmla="*/ 405 w 512"/>
                <a:gd name="T55" fmla="*/ 352 h 512"/>
                <a:gd name="T56" fmla="*/ 344 w 512"/>
                <a:gd name="T57" fmla="*/ 205 h 512"/>
                <a:gd name="T58" fmla="*/ 362 w 512"/>
                <a:gd name="T59" fmla="*/ 213 h 512"/>
                <a:gd name="T60" fmla="*/ 352 w 512"/>
                <a:gd name="T61" fmla="*/ 224 h 512"/>
                <a:gd name="T62" fmla="*/ 341 w 512"/>
                <a:gd name="T63" fmla="*/ 213 h 512"/>
                <a:gd name="T64" fmla="*/ 298 w 512"/>
                <a:gd name="T65" fmla="*/ 181 h 512"/>
                <a:gd name="T66" fmla="*/ 298 w 512"/>
                <a:gd name="T67" fmla="*/ 160 h 512"/>
                <a:gd name="T68" fmla="*/ 416 w 512"/>
                <a:gd name="T69" fmla="*/ 1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21" y="392"/>
                  </a:moveTo>
                  <a:cubicBezTo>
                    <a:pt x="219" y="394"/>
                    <a:pt x="216" y="395"/>
                    <a:pt x="213" y="395"/>
                  </a:cubicBezTo>
                  <a:cubicBezTo>
                    <a:pt x="211" y="395"/>
                    <a:pt x="208" y="394"/>
                    <a:pt x="206" y="392"/>
                  </a:cubicBezTo>
                  <a:cubicBezTo>
                    <a:pt x="170" y="356"/>
                    <a:pt x="170" y="356"/>
                    <a:pt x="170" y="356"/>
                  </a:cubicBezTo>
                  <a:cubicBezTo>
                    <a:pt x="135" y="391"/>
                    <a:pt x="135" y="391"/>
                    <a:pt x="135" y="391"/>
                  </a:cubicBezTo>
                  <a:cubicBezTo>
                    <a:pt x="133" y="393"/>
                    <a:pt x="130" y="394"/>
                    <a:pt x="128" y="394"/>
                  </a:cubicBezTo>
                  <a:cubicBezTo>
                    <a:pt x="125" y="394"/>
                    <a:pt x="122" y="393"/>
                    <a:pt x="120" y="391"/>
                  </a:cubicBezTo>
                  <a:cubicBezTo>
                    <a:pt x="116" y="387"/>
                    <a:pt x="116" y="380"/>
                    <a:pt x="120" y="376"/>
                  </a:cubicBezTo>
                  <a:cubicBezTo>
                    <a:pt x="155" y="341"/>
                    <a:pt x="155" y="341"/>
                    <a:pt x="155" y="341"/>
                  </a:cubicBezTo>
                  <a:cubicBezTo>
                    <a:pt x="120" y="306"/>
                    <a:pt x="120" y="306"/>
                    <a:pt x="120" y="306"/>
                  </a:cubicBezTo>
                  <a:cubicBezTo>
                    <a:pt x="116" y="301"/>
                    <a:pt x="116" y="295"/>
                    <a:pt x="120" y="290"/>
                  </a:cubicBezTo>
                  <a:cubicBezTo>
                    <a:pt x="124" y="286"/>
                    <a:pt x="131" y="286"/>
                    <a:pt x="135" y="290"/>
                  </a:cubicBezTo>
                  <a:cubicBezTo>
                    <a:pt x="170" y="326"/>
                    <a:pt x="170" y="326"/>
                    <a:pt x="170" y="326"/>
                  </a:cubicBezTo>
                  <a:cubicBezTo>
                    <a:pt x="205" y="291"/>
                    <a:pt x="205" y="291"/>
                    <a:pt x="205" y="291"/>
                  </a:cubicBezTo>
                  <a:cubicBezTo>
                    <a:pt x="210" y="287"/>
                    <a:pt x="216" y="287"/>
                    <a:pt x="221" y="291"/>
                  </a:cubicBezTo>
                  <a:cubicBezTo>
                    <a:pt x="225" y="295"/>
                    <a:pt x="225" y="302"/>
                    <a:pt x="221" y="306"/>
                  </a:cubicBezTo>
                  <a:cubicBezTo>
                    <a:pt x="185" y="341"/>
                    <a:pt x="185" y="341"/>
                    <a:pt x="185" y="341"/>
                  </a:cubicBezTo>
                  <a:cubicBezTo>
                    <a:pt x="221" y="377"/>
                    <a:pt x="221" y="377"/>
                    <a:pt x="221" y="377"/>
                  </a:cubicBezTo>
                  <a:cubicBezTo>
                    <a:pt x="225" y="381"/>
                    <a:pt x="225" y="387"/>
                    <a:pt x="221" y="392"/>
                  </a:cubicBezTo>
                  <a:close/>
                  <a:moveTo>
                    <a:pt x="224" y="181"/>
                  </a:moveTo>
                  <a:cubicBezTo>
                    <a:pt x="181" y="181"/>
                    <a:pt x="181" y="181"/>
                    <a:pt x="181" y="181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81" y="230"/>
                    <a:pt x="176" y="234"/>
                    <a:pt x="170" y="234"/>
                  </a:cubicBezTo>
                  <a:cubicBezTo>
                    <a:pt x="164" y="234"/>
                    <a:pt x="160" y="230"/>
                    <a:pt x="160" y="224"/>
                  </a:cubicBezTo>
                  <a:cubicBezTo>
                    <a:pt x="160" y="181"/>
                    <a:pt x="160" y="181"/>
                    <a:pt x="160" y="181"/>
                  </a:cubicBezTo>
                  <a:cubicBezTo>
                    <a:pt x="117" y="181"/>
                    <a:pt x="117" y="181"/>
                    <a:pt x="117" y="181"/>
                  </a:cubicBezTo>
                  <a:cubicBezTo>
                    <a:pt x="111" y="181"/>
                    <a:pt x="106" y="176"/>
                    <a:pt x="106" y="170"/>
                  </a:cubicBezTo>
                  <a:cubicBezTo>
                    <a:pt x="106" y="164"/>
                    <a:pt x="111" y="160"/>
                    <a:pt x="117" y="160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0" y="117"/>
                    <a:pt x="160" y="117"/>
                    <a:pt x="160" y="117"/>
                  </a:cubicBezTo>
                  <a:cubicBezTo>
                    <a:pt x="160" y="111"/>
                    <a:pt x="164" y="106"/>
                    <a:pt x="170" y="106"/>
                  </a:cubicBezTo>
                  <a:cubicBezTo>
                    <a:pt x="176" y="106"/>
                    <a:pt x="181" y="111"/>
                    <a:pt x="181" y="117"/>
                  </a:cubicBezTo>
                  <a:cubicBezTo>
                    <a:pt x="181" y="160"/>
                    <a:pt x="181" y="160"/>
                    <a:pt x="181" y="160"/>
                  </a:cubicBezTo>
                  <a:cubicBezTo>
                    <a:pt x="224" y="160"/>
                    <a:pt x="224" y="160"/>
                    <a:pt x="224" y="160"/>
                  </a:cubicBezTo>
                  <a:cubicBezTo>
                    <a:pt x="230" y="160"/>
                    <a:pt x="234" y="164"/>
                    <a:pt x="234" y="170"/>
                  </a:cubicBezTo>
                  <a:cubicBezTo>
                    <a:pt x="234" y="176"/>
                    <a:pt x="230" y="181"/>
                    <a:pt x="224" y="181"/>
                  </a:cubicBezTo>
                  <a:close/>
                  <a:moveTo>
                    <a:pt x="344" y="120"/>
                  </a:moveTo>
                  <a:cubicBezTo>
                    <a:pt x="348" y="116"/>
                    <a:pt x="355" y="116"/>
                    <a:pt x="359" y="120"/>
                  </a:cubicBezTo>
                  <a:cubicBezTo>
                    <a:pt x="361" y="122"/>
                    <a:pt x="362" y="125"/>
                    <a:pt x="362" y="128"/>
                  </a:cubicBezTo>
                  <a:cubicBezTo>
                    <a:pt x="362" y="130"/>
                    <a:pt x="361" y="133"/>
                    <a:pt x="359" y="135"/>
                  </a:cubicBezTo>
                  <a:cubicBezTo>
                    <a:pt x="357" y="137"/>
                    <a:pt x="354" y="138"/>
                    <a:pt x="352" y="138"/>
                  </a:cubicBezTo>
                  <a:cubicBezTo>
                    <a:pt x="349" y="138"/>
                    <a:pt x="346" y="137"/>
                    <a:pt x="344" y="135"/>
                  </a:cubicBezTo>
                  <a:cubicBezTo>
                    <a:pt x="342" y="133"/>
                    <a:pt x="341" y="130"/>
                    <a:pt x="341" y="128"/>
                  </a:cubicBezTo>
                  <a:cubicBezTo>
                    <a:pt x="341" y="125"/>
                    <a:pt x="342" y="122"/>
                    <a:pt x="344" y="120"/>
                  </a:cubicBezTo>
                  <a:close/>
                  <a:moveTo>
                    <a:pt x="405" y="352"/>
                  </a:moveTo>
                  <a:cubicBezTo>
                    <a:pt x="298" y="352"/>
                    <a:pt x="298" y="352"/>
                    <a:pt x="298" y="352"/>
                  </a:cubicBezTo>
                  <a:cubicBezTo>
                    <a:pt x="292" y="352"/>
                    <a:pt x="288" y="347"/>
                    <a:pt x="288" y="341"/>
                  </a:cubicBezTo>
                  <a:cubicBezTo>
                    <a:pt x="288" y="335"/>
                    <a:pt x="292" y="330"/>
                    <a:pt x="298" y="330"/>
                  </a:cubicBezTo>
                  <a:cubicBezTo>
                    <a:pt x="405" y="330"/>
                    <a:pt x="405" y="330"/>
                    <a:pt x="405" y="330"/>
                  </a:cubicBezTo>
                  <a:cubicBezTo>
                    <a:pt x="411" y="330"/>
                    <a:pt x="416" y="335"/>
                    <a:pt x="416" y="341"/>
                  </a:cubicBezTo>
                  <a:cubicBezTo>
                    <a:pt x="416" y="347"/>
                    <a:pt x="411" y="352"/>
                    <a:pt x="405" y="352"/>
                  </a:cubicBezTo>
                  <a:close/>
                  <a:moveTo>
                    <a:pt x="341" y="213"/>
                  </a:moveTo>
                  <a:cubicBezTo>
                    <a:pt x="341" y="210"/>
                    <a:pt x="342" y="207"/>
                    <a:pt x="344" y="205"/>
                  </a:cubicBezTo>
                  <a:cubicBezTo>
                    <a:pt x="348" y="201"/>
                    <a:pt x="355" y="201"/>
                    <a:pt x="359" y="205"/>
                  </a:cubicBezTo>
                  <a:cubicBezTo>
                    <a:pt x="361" y="207"/>
                    <a:pt x="362" y="210"/>
                    <a:pt x="362" y="213"/>
                  </a:cubicBezTo>
                  <a:cubicBezTo>
                    <a:pt x="362" y="216"/>
                    <a:pt x="361" y="219"/>
                    <a:pt x="359" y="221"/>
                  </a:cubicBezTo>
                  <a:cubicBezTo>
                    <a:pt x="357" y="222"/>
                    <a:pt x="354" y="224"/>
                    <a:pt x="352" y="224"/>
                  </a:cubicBezTo>
                  <a:cubicBezTo>
                    <a:pt x="349" y="224"/>
                    <a:pt x="346" y="222"/>
                    <a:pt x="344" y="221"/>
                  </a:cubicBezTo>
                  <a:cubicBezTo>
                    <a:pt x="342" y="219"/>
                    <a:pt x="341" y="216"/>
                    <a:pt x="341" y="213"/>
                  </a:cubicBezTo>
                  <a:close/>
                  <a:moveTo>
                    <a:pt x="405" y="181"/>
                  </a:moveTo>
                  <a:cubicBezTo>
                    <a:pt x="298" y="181"/>
                    <a:pt x="298" y="181"/>
                    <a:pt x="298" y="181"/>
                  </a:cubicBezTo>
                  <a:cubicBezTo>
                    <a:pt x="292" y="181"/>
                    <a:pt x="288" y="176"/>
                    <a:pt x="288" y="170"/>
                  </a:cubicBezTo>
                  <a:cubicBezTo>
                    <a:pt x="288" y="164"/>
                    <a:pt x="292" y="160"/>
                    <a:pt x="298" y="160"/>
                  </a:cubicBezTo>
                  <a:cubicBezTo>
                    <a:pt x="405" y="160"/>
                    <a:pt x="405" y="160"/>
                    <a:pt x="405" y="160"/>
                  </a:cubicBezTo>
                  <a:cubicBezTo>
                    <a:pt x="411" y="160"/>
                    <a:pt x="416" y="164"/>
                    <a:pt x="416" y="170"/>
                  </a:cubicBezTo>
                  <a:cubicBezTo>
                    <a:pt x="416" y="176"/>
                    <a:pt x="411" y="181"/>
                    <a:pt x="405" y="18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F91071F-D941-4F46-90B1-95E8F8C972EB}"/>
              </a:ext>
            </a:extLst>
          </p:cNvPr>
          <p:cNvGrpSpPr/>
          <p:nvPr/>
        </p:nvGrpSpPr>
        <p:grpSpPr>
          <a:xfrm>
            <a:off x="9158500" y="2444889"/>
            <a:ext cx="2119101" cy="1840659"/>
            <a:chOff x="3198933" y="2649076"/>
            <a:chExt cx="2119101" cy="1840659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E201B62-278F-4B4F-84D0-01D3A0DC5977}"/>
                </a:ext>
              </a:extLst>
            </p:cNvPr>
            <p:cNvSpPr txBox="1"/>
            <p:nvPr/>
          </p:nvSpPr>
          <p:spPr>
            <a:xfrm>
              <a:off x="3295256" y="2649076"/>
              <a:ext cx="19264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OFFICE HOURS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C07F4E51-B5A7-43EC-B808-1CA733A4E320}"/>
                </a:ext>
              </a:extLst>
            </p:cNvPr>
            <p:cNvSpPr txBox="1"/>
            <p:nvPr/>
          </p:nvSpPr>
          <p:spPr>
            <a:xfrm>
              <a:off x="3198933" y="3169296"/>
              <a:ext cx="211910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OPTIONAL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WORKING SESSION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DC5A23B-4732-4A58-A220-F9E12ECB6BD5}"/>
                </a:ext>
              </a:extLst>
            </p:cNvPr>
            <p:cNvSpPr txBox="1"/>
            <p:nvPr/>
          </p:nvSpPr>
          <p:spPr>
            <a:xfrm>
              <a:off x="3295256" y="3843404"/>
              <a:ext cx="19264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epare for the final readout of the team’s recommended strategy 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18F31C8F-1D3F-469F-BC1A-BE98637188AC}"/>
              </a:ext>
            </a:extLst>
          </p:cNvPr>
          <p:cNvGrpSpPr/>
          <p:nvPr/>
        </p:nvGrpSpPr>
        <p:grpSpPr>
          <a:xfrm>
            <a:off x="9998594" y="1923962"/>
            <a:ext cx="438912" cy="438912"/>
            <a:chOff x="7079815" y="5197109"/>
            <a:chExt cx="582966" cy="582966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1FF057F2-263E-42D0-9E7B-744EC14EB949}"/>
                </a:ext>
              </a:extLst>
            </p:cNvPr>
            <p:cNvSpPr/>
            <p:nvPr/>
          </p:nvSpPr>
          <p:spPr>
            <a:xfrm>
              <a:off x="7172716" y="5310193"/>
              <a:ext cx="397164" cy="36755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5" name="Freeform 514">
              <a:extLst>
                <a:ext uri="{FF2B5EF4-FFF2-40B4-BE49-F238E27FC236}">
                  <a16:creationId xmlns:a16="http://schemas.microsoft.com/office/drawing/2014/main" id="{6E860688-D803-476F-B603-A8DE638231C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079815" y="5197109"/>
              <a:ext cx="582966" cy="582966"/>
            </a:xfrm>
            <a:custGeom>
              <a:avLst/>
              <a:gdLst>
                <a:gd name="T0" fmla="*/ 394 w 512"/>
                <a:gd name="T1" fmla="*/ 240 h 512"/>
                <a:gd name="T2" fmla="*/ 394 w 512"/>
                <a:gd name="T3" fmla="*/ 272 h 512"/>
                <a:gd name="T4" fmla="*/ 382 w 512"/>
                <a:gd name="T5" fmla="*/ 297 h 512"/>
                <a:gd name="T6" fmla="*/ 361 w 512"/>
                <a:gd name="T7" fmla="*/ 291 h 512"/>
                <a:gd name="T8" fmla="*/ 326 w 512"/>
                <a:gd name="T9" fmla="*/ 268 h 512"/>
                <a:gd name="T10" fmla="*/ 320 w 512"/>
                <a:gd name="T11" fmla="*/ 278 h 512"/>
                <a:gd name="T12" fmla="*/ 320 w 512"/>
                <a:gd name="T13" fmla="*/ 362 h 512"/>
                <a:gd name="T14" fmla="*/ 128 w 512"/>
                <a:gd name="T15" fmla="*/ 362 h 512"/>
                <a:gd name="T16" fmla="*/ 128 w 512"/>
                <a:gd name="T17" fmla="*/ 170 h 512"/>
                <a:gd name="T18" fmla="*/ 179 w 512"/>
                <a:gd name="T19" fmla="*/ 170 h 512"/>
                <a:gd name="T20" fmla="*/ 174 w 512"/>
                <a:gd name="T21" fmla="*/ 174 h 512"/>
                <a:gd name="T22" fmla="*/ 162 w 512"/>
                <a:gd name="T23" fmla="*/ 219 h 512"/>
                <a:gd name="T24" fmla="*/ 208 w 512"/>
                <a:gd name="T25" fmla="*/ 245 h 512"/>
                <a:gd name="T26" fmla="*/ 240 w 512"/>
                <a:gd name="T27" fmla="*/ 245 h 512"/>
                <a:gd name="T28" fmla="*/ 285 w 512"/>
                <a:gd name="T29" fmla="*/ 219 h 512"/>
                <a:gd name="T30" fmla="*/ 273 w 512"/>
                <a:gd name="T31" fmla="*/ 174 h 512"/>
                <a:gd name="T32" fmla="*/ 269 w 512"/>
                <a:gd name="T33" fmla="*/ 170 h 512"/>
                <a:gd name="T34" fmla="*/ 320 w 512"/>
                <a:gd name="T35" fmla="*/ 170 h 512"/>
                <a:gd name="T36" fmla="*/ 320 w 512"/>
                <a:gd name="T37" fmla="*/ 233 h 512"/>
                <a:gd name="T38" fmla="*/ 326 w 512"/>
                <a:gd name="T39" fmla="*/ 243 h 512"/>
                <a:gd name="T40" fmla="*/ 361 w 512"/>
                <a:gd name="T41" fmla="*/ 221 h 512"/>
                <a:gd name="T42" fmla="*/ 382 w 512"/>
                <a:gd name="T43" fmla="*/ 214 h 512"/>
                <a:gd name="T44" fmla="*/ 394 w 512"/>
                <a:gd name="T45" fmla="*/ 240 h 512"/>
                <a:gd name="T46" fmla="*/ 512 w 512"/>
                <a:gd name="T47" fmla="*/ 256 h 512"/>
                <a:gd name="T48" fmla="*/ 256 w 512"/>
                <a:gd name="T49" fmla="*/ 512 h 512"/>
                <a:gd name="T50" fmla="*/ 0 w 512"/>
                <a:gd name="T51" fmla="*/ 256 h 512"/>
                <a:gd name="T52" fmla="*/ 256 w 512"/>
                <a:gd name="T53" fmla="*/ 0 h 512"/>
                <a:gd name="T54" fmla="*/ 512 w 512"/>
                <a:gd name="T55" fmla="*/ 256 h 512"/>
                <a:gd name="T56" fmla="*/ 416 w 512"/>
                <a:gd name="T57" fmla="*/ 240 h 512"/>
                <a:gd name="T58" fmla="*/ 389 w 512"/>
                <a:gd name="T59" fmla="*/ 194 h 512"/>
                <a:gd name="T60" fmla="*/ 345 w 512"/>
                <a:gd name="T61" fmla="*/ 206 h 512"/>
                <a:gd name="T62" fmla="*/ 341 w 512"/>
                <a:gd name="T63" fmla="*/ 210 h 512"/>
                <a:gd name="T64" fmla="*/ 341 w 512"/>
                <a:gd name="T65" fmla="*/ 160 h 512"/>
                <a:gd name="T66" fmla="*/ 330 w 512"/>
                <a:gd name="T67" fmla="*/ 149 h 512"/>
                <a:gd name="T68" fmla="*/ 246 w 512"/>
                <a:gd name="T69" fmla="*/ 149 h 512"/>
                <a:gd name="T70" fmla="*/ 237 w 512"/>
                <a:gd name="T71" fmla="*/ 156 h 512"/>
                <a:gd name="T72" fmla="*/ 259 w 512"/>
                <a:gd name="T73" fmla="*/ 190 h 512"/>
                <a:gd name="T74" fmla="*/ 265 w 512"/>
                <a:gd name="T75" fmla="*/ 211 h 512"/>
                <a:gd name="T76" fmla="*/ 240 w 512"/>
                <a:gd name="T77" fmla="*/ 224 h 512"/>
                <a:gd name="T78" fmla="*/ 208 w 512"/>
                <a:gd name="T79" fmla="*/ 224 h 512"/>
                <a:gd name="T80" fmla="*/ 182 w 512"/>
                <a:gd name="T81" fmla="*/ 211 h 512"/>
                <a:gd name="T82" fmla="*/ 189 w 512"/>
                <a:gd name="T83" fmla="*/ 190 h 512"/>
                <a:gd name="T84" fmla="*/ 211 w 512"/>
                <a:gd name="T85" fmla="*/ 156 h 512"/>
                <a:gd name="T86" fmla="*/ 201 w 512"/>
                <a:gd name="T87" fmla="*/ 149 h 512"/>
                <a:gd name="T88" fmla="*/ 117 w 512"/>
                <a:gd name="T89" fmla="*/ 149 h 512"/>
                <a:gd name="T90" fmla="*/ 106 w 512"/>
                <a:gd name="T91" fmla="*/ 160 h 512"/>
                <a:gd name="T92" fmla="*/ 106 w 512"/>
                <a:gd name="T93" fmla="*/ 373 h 512"/>
                <a:gd name="T94" fmla="*/ 117 w 512"/>
                <a:gd name="T95" fmla="*/ 384 h 512"/>
                <a:gd name="T96" fmla="*/ 330 w 512"/>
                <a:gd name="T97" fmla="*/ 384 h 512"/>
                <a:gd name="T98" fmla="*/ 341 w 512"/>
                <a:gd name="T99" fmla="*/ 373 h 512"/>
                <a:gd name="T100" fmla="*/ 341 w 512"/>
                <a:gd name="T101" fmla="*/ 301 h 512"/>
                <a:gd name="T102" fmla="*/ 345 w 512"/>
                <a:gd name="T103" fmla="*/ 305 h 512"/>
                <a:gd name="T104" fmla="*/ 389 w 512"/>
                <a:gd name="T105" fmla="*/ 317 h 512"/>
                <a:gd name="T106" fmla="*/ 416 w 512"/>
                <a:gd name="T107" fmla="*/ 272 h 512"/>
                <a:gd name="T108" fmla="*/ 416 w 512"/>
                <a:gd name="T109" fmla="*/ 24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12" h="512">
                  <a:moveTo>
                    <a:pt x="394" y="240"/>
                  </a:moveTo>
                  <a:cubicBezTo>
                    <a:pt x="394" y="272"/>
                    <a:pt x="394" y="272"/>
                    <a:pt x="394" y="272"/>
                  </a:cubicBezTo>
                  <a:cubicBezTo>
                    <a:pt x="394" y="285"/>
                    <a:pt x="390" y="294"/>
                    <a:pt x="382" y="297"/>
                  </a:cubicBezTo>
                  <a:cubicBezTo>
                    <a:pt x="375" y="300"/>
                    <a:pt x="367" y="297"/>
                    <a:pt x="361" y="291"/>
                  </a:cubicBezTo>
                  <a:cubicBezTo>
                    <a:pt x="341" y="269"/>
                    <a:pt x="333" y="266"/>
                    <a:pt x="326" y="268"/>
                  </a:cubicBezTo>
                  <a:cubicBezTo>
                    <a:pt x="322" y="270"/>
                    <a:pt x="320" y="274"/>
                    <a:pt x="320" y="278"/>
                  </a:cubicBezTo>
                  <a:cubicBezTo>
                    <a:pt x="320" y="362"/>
                    <a:pt x="320" y="362"/>
                    <a:pt x="320" y="362"/>
                  </a:cubicBezTo>
                  <a:cubicBezTo>
                    <a:pt x="128" y="362"/>
                    <a:pt x="128" y="362"/>
                    <a:pt x="128" y="362"/>
                  </a:cubicBezTo>
                  <a:cubicBezTo>
                    <a:pt x="128" y="170"/>
                    <a:pt x="128" y="170"/>
                    <a:pt x="128" y="170"/>
                  </a:cubicBezTo>
                  <a:cubicBezTo>
                    <a:pt x="179" y="170"/>
                    <a:pt x="179" y="170"/>
                    <a:pt x="179" y="170"/>
                  </a:cubicBezTo>
                  <a:cubicBezTo>
                    <a:pt x="177" y="172"/>
                    <a:pt x="176" y="173"/>
                    <a:pt x="174" y="174"/>
                  </a:cubicBezTo>
                  <a:cubicBezTo>
                    <a:pt x="161" y="186"/>
                    <a:pt x="156" y="204"/>
                    <a:pt x="162" y="219"/>
                  </a:cubicBezTo>
                  <a:cubicBezTo>
                    <a:pt x="168" y="235"/>
                    <a:pt x="185" y="245"/>
                    <a:pt x="208" y="245"/>
                  </a:cubicBezTo>
                  <a:cubicBezTo>
                    <a:pt x="240" y="245"/>
                    <a:pt x="240" y="245"/>
                    <a:pt x="240" y="245"/>
                  </a:cubicBezTo>
                  <a:cubicBezTo>
                    <a:pt x="262" y="245"/>
                    <a:pt x="279" y="235"/>
                    <a:pt x="285" y="219"/>
                  </a:cubicBezTo>
                  <a:cubicBezTo>
                    <a:pt x="291" y="204"/>
                    <a:pt x="286" y="186"/>
                    <a:pt x="273" y="174"/>
                  </a:cubicBezTo>
                  <a:cubicBezTo>
                    <a:pt x="272" y="173"/>
                    <a:pt x="270" y="171"/>
                    <a:pt x="269" y="170"/>
                  </a:cubicBezTo>
                  <a:cubicBezTo>
                    <a:pt x="320" y="170"/>
                    <a:pt x="320" y="170"/>
                    <a:pt x="320" y="170"/>
                  </a:cubicBezTo>
                  <a:cubicBezTo>
                    <a:pt x="320" y="233"/>
                    <a:pt x="320" y="233"/>
                    <a:pt x="320" y="233"/>
                  </a:cubicBezTo>
                  <a:cubicBezTo>
                    <a:pt x="320" y="237"/>
                    <a:pt x="322" y="241"/>
                    <a:pt x="326" y="243"/>
                  </a:cubicBezTo>
                  <a:cubicBezTo>
                    <a:pt x="333" y="246"/>
                    <a:pt x="340" y="243"/>
                    <a:pt x="361" y="221"/>
                  </a:cubicBezTo>
                  <a:cubicBezTo>
                    <a:pt x="367" y="214"/>
                    <a:pt x="375" y="211"/>
                    <a:pt x="382" y="214"/>
                  </a:cubicBezTo>
                  <a:cubicBezTo>
                    <a:pt x="390" y="217"/>
                    <a:pt x="394" y="226"/>
                    <a:pt x="394" y="24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40"/>
                  </a:moveTo>
                  <a:cubicBezTo>
                    <a:pt x="416" y="217"/>
                    <a:pt x="406" y="200"/>
                    <a:pt x="389" y="194"/>
                  </a:cubicBezTo>
                  <a:cubicBezTo>
                    <a:pt x="374" y="188"/>
                    <a:pt x="357" y="193"/>
                    <a:pt x="345" y="206"/>
                  </a:cubicBezTo>
                  <a:cubicBezTo>
                    <a:pt x="343" y="208"/>
                    <a:pt x="342" y="209"/>
                    <a:pt x="341" y="210"/>
                  </a:cubicBezTo>
                  <a:cubicBezTo>
                    <a:pt x="341" y="160"/>
                    <a:pt x="341" y="160"/>
                    <a:pt x="341" y="160"/>
                  </a:cubicBezTo>
                  <a:cubicBezTo>
                    <a:pt x="341" y="154"/>
                    <a:pt x="336" y="149"/>
                    <a:pt x="330" y="149"/>
                  </a:cubicBezTo>
                  <a:cubicBezTo>
                    <a:pt x="246" y="149"/>
                    <a:pt x="246" y="149"/>
                    <a:pt x="246" y="149"/>
                  </a:cubicBezTo>
                  <a:cubicBezTo>
                    <a:pt x="242" y="149"/>
                    <a:pt x="238" y="152"/>
                    <a:pt x="237" y="156"/>
                  </a:cubicBezTo>
                  <a:cubicBezTo>
                    <a:pt x="234" y="163"/>
                    <a:pt x="236" y="170"/>
                    <a:pt x="259" y="190"/>
                  </a:cubicBezTo>
                  <a:cubicBezTo>
                    <a:pt x="265" y="196"/>
                    <a:pt x="268" y="204"/>
                    <a:pt x="265" y="211"/>
                  </a:cubicBezTo>
                  <a:cubicBezTo>
                    <a:pt x="262" y="219"/>
                    <a:pt x="253" y="224"/>
                    <a:pt x="240" y="224"/>
                  </a:cubicBezTo>
                  <a:cubicBezTo>
                    <a:pt x="208" y="224"/>
                    <a:pt x="208" y="224"/>
                    <a:pt x="208" y="224"/>
                  </a:cubicBezTo>
                  <a:cubicBezTo>
                    <a:pt x="194" y="224"/>
                    <a:pt x="185" y="219"/>
                    <a:pt x="182" y="211"/>
                  </a:cubicBezTo>
                  <a:cubicBezTo>
                    <a:pt x="179" y="204"/>
                    <a:pt x="182" y="196"/>
                    <a:pt x="189" y="190"/>
                  </a:cubicBezTo>
                  <a:cubicBezTo>
                    <a:pt x="211" y="170"/>
                    <a:pt x="214" y="163"/>
                    <a:pt x="211" y="156"/>
                  </a:cubicBezTo>
                  <a:cubicBezTo>
                    <a:pt x="209" y="152"/>
                    <a:pt x="205" y="149"/>
                    <a:pt x="201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11" y="149"/>
                    <a:pt x="106" y="154"/>
                    <a:pt x="106" y="160"/>
                  </a:cubicBezTo>
                  <a:cubicBezTo>
                    <a:pt x="106" y="373"/>
                    <a:pt x="106" y="373"/>
                    <a:pt x="106" y="373"/>
                  </a:cubicBezTo>
                  <a:cubicBezTo>
                    <a:pt x="106" y="379"/>
                    <a:pt x="111" y="384"/>
                    <a:pt x="117" y="384"/>
                  </a:cubicBezTo>
                  <a:cubicBezTo>
                    <a:pt x="330" y="384"/>
                    <a:pt x="330" y="384"/>
                    <a:pt x="330" y="384"/>
                  </a:cubicBezTo>
                  <a:cubicBezTo>
                    <a:pt x="336" y="384"/>
                    <a:pt x="341" y="379"/>
                    <a:pt x="341" y="373"/>
                  </a:cubicBezTo>
                  <a:cubicBezTo>
                    <a:pt x="341" y="301"/>
                    <a:pt x="341" y="301"/>
                    <a:pt x="341" y="301"/>
                  </a:cubicBezTo>
                  <a:cubicBezTo>
                    <a:pt x="342" y="302"/>
                    <a:pt x="343" y="303"/>
                    <a:pt x="345" y="305"/>
                  </a:cubicBezTo>
                  <a:cubicBezTo>
                    <a:pt x="357" y="318"/>
                    <a:pt x="374" y="323"/>
                    <a:pt x="389" y="317"/>
                  </a:cubicBezTo>
                  <a:cubicBezTo>
                    <a:pt x="406" y="311"/>
                    <a:pt x="416" y="294"/>
                    <a:pt x="416" y="272"/>
                  </a:cubicBezTo>
                  <a:lnTo>
                    <a:pt x="416" y="2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D0C3D012-1F6C-4DC5-9FB7-314C9BF451C0}"/>
              </a:ext>
            </a:extLst>
          </p:cNvPr>
          <p:cNvSpPr/>
          <p:nvPr/>
        </p:nvSpPr>
        <p:spPr bwMode="gray">
          <a:xfrm rot="10800000">
            <a:off x="1384527" y="4947260"/>
            <a:ext cx="9422947" cy="307776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3" name="Freeform 867">
            <a:extLst>
              <a:ext uri="{FF2B5EF4-FFF2-40B4-BE49-F238E27FC236}">
                <a16:creationId xmlns:a16="http://schemas.microsoft.com/office/drawing/2014/main" id="{CE762298-531D-4332-8614-FD14CEFDBB7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76544" y="5310035"/>
            <a:ext cx="438912" cy="438912"/>
          </a:xfrm>
          <a:custGeom>
            <a:avLst/>
            <a:gdLst>
              <a:gd name="T0" fmla="*/ 138 w 512"/>
              <a:gd name="T1" fmla="*/ 138 h 512"/>
              <a:gd name="T2" fmla="*/ 373 w 512"/>
              <a:gd name="T3" fmla="*/ 138 h 512"/>
              <a:gd name="T4" fmla="*/ 373 w 512"/>
              <a:gd name="T5" fmla="*/ 309 h 512"/>
              <a:gd name="T6" fmla="*/ 138 w 512"/>
              <a:gd name="T7" fmla="*/ 309 h 512"/>
              <a:gd name="T8" fmla="*/ 138 w 512"/>
              <a:gd name="T9" fmla="*/ 138 h 512"/>
              <a:gd name="T10" fmla="*/ 512 w 512"/>
              <a:gd name="T11" fmla="*/ 256 h 512"/>
              <a:gd name="T12" fmla="*/ 256 w 512"/>
              <a:gd name="T13" fmla="*/ 512 h 512"/>
              <a:gd name="T14" fmla="*/ 0 w 512"/>
              <a:gd name="T15" fmla="*/ 256 h 512"/>
              <a:gd name="T16" fmla="*/ 256 w 512"/>
              <a:gd name="T17" fmla="*/ 0 h 512"/>
              <a:gd name="T18" fmla="*/ 512 w 512"/>
              <a:gd name="T19" fmla="*/ 256 h 512"/>
              <a:gd name="T20" fmla="*/ 394 w 512"/>
              <a:gd name="T21" fmla="*/ 128 h 512"/>
              <a:gd name="T22" fmla="*/ 384 w 512"/>
              <a:gd name="T23" fmla="*/ 117 h 512"/>
              <a:gd name="T24" fmla="*/ 266 w 512"/>
              <a:gd name="T25" fmla="*/ 117 h 512"/>
              <a:gd name="T26" fmla="*/ 256 w 512"/>
              <a:gd name="T27" fmla="*/ 106 h 512"/>
              <a:gd name="T28" fmla="*/ 245 w 512"/>
              <a:gd name="T29" fmla="*/ 117 h 512"/>
              <a:gd name="T30" fmla="*/ 128 w 512"/>
              <a:gd name="T31" fmla="*/ 117 h 512"/>
              <a:gd name="T32" fmla="*/ 117 w 512"/>
              <a:gd name="T33" fmla="*/ 128 h 512"/>
              <a:gd name="T34" fmla="*/ 117 w 512"/>
              <a:gd name="T35" fmla="*/ 320 h 512"/>
              <a:gd name="T36" fmla="*/ 128 w 512"/>
              <a:gd name="T37" fmla="*/ 330 h 512"/>
              <a:gd name="T38" fmla="*/ 198 w 512"/>
              <a:gd name="T39" fmla="*/ 330 h 512"/>
              <a:gd name="T40" fmla="*/ 171 w 512"/>
              <a:gd name="T41" fmla="*/ 401 h 512"/>
              <a:gd name="T42" fmla="*/ 177 w 512"/>
              <a:gd name="T43" fmla="*/ 415 h 512"/>
              <a:gd name="T44" fmla="*/ 181 w 512"/>
              <a:gd name="T45" fmla="*/ 416 h 512"/>
              <a:gd name="T46" fmla="*/ 191 w 512"/>
              <a:gd name="T47" fmla="*/ 409 h 512"/>
              <a:gd name="T48" fmla="*/ 220 w 512"/>
              <a:gd name="T49" fmla="*/ 330 h 512"/>
              <a:gd name="T50" fmla="*/ 245 w 512"/>
              <a:gd name="T51" fmla="*/ 330 h 512"/>
              <a:gd name="T52" fmla="*/ 245 w 512"/>
              <a:gd name="T53" fmla="*/ 373 h 512"/>
              <a:gd name="T54" fmla="*/ 256 w 512"/>
              <a:gd name="T55" fmla="*/ 384 h 512"/>
              <a:gd name="T56" fmla="*/ 266 w 512"/>
              <a:gd name="T57" fmla="*/ 373 h 512"/>
              <a:gd name="T58" fmla="*/ 266 w 512"/>
              <a:gd name="T59" fmla="*/ 330 h 512"/>
              <a:gd name="T60" fmla="*/ 291 w 512"/>
              <a:gd name="T61" fmla="*/ 330 h 512"/>
              <a:gd name="T62" fmla="*/ 320 w 512"/>
              <a:gd name="T63" fmla="*/ 409 h 512"/>
              <a:gd name="T64" fmla="*/ 330 w 512"/>
              <a:gd name="T65" fmla="*/ 416 h 512"/>
              <a:gd name="T66" fmla="*/ 334 w 512"/>
              <a:gd name="T67" fmla="*/ 415 h 512"/>
              <a:gd name="T68" fmla="*/ 340 w 512"/>
              <a:gd name="T69" fmla="*/ 401 h 512"/>
              <a:gd name="T70" fmla="*/ 314 w 512"/>
              <a:gd name="T71" fmla="*/ 330 h 512"/>
              <a:gd name="T72" fmla="*/ 384 w 512"/>
              <a:gd name="T73" fmla="*/ 330 h 512"/>
              <a:gd name="T74" fmla="*/ 394 w 512"/>
              <a:gd name="T75" fmla="*/ 320 h 512"/>
              <a:gd name="T76" fmla="*/ 394 w 512"/>
              <a:gd name="T77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2" h="512">
                <a:moveTo>
                  <a:pt x="138" y="138"/>
                </a:moveTo>
                <a:cubicBezTo>
                  <a:pt x="373" y="138"/>
                  <a:pt x="373" y="138"/>
                  <a:pt x="373" y="138"/>
                </a:cubicBezTo>
                <a:cubicBezTo>
                  <a:pt x="373" y="309"/>
                  <a:pt x="373" y="309"/>
                  <a:pt x="373" y="309"/>
                </a:cubicBezTo>
                <a:cubicBezTo>
                  <a:pt x="138" y="309"/>
                  <a:pt x="138" y="309"/>
                  <a:pt x="138" y="309"/>
                </a:cubicBezTo>
                <a:lnTo>
                  <a:pt x="138" y="138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6" y="111"/>
                  <a:pt x="262" y="106"/>
                  <a:pt x="256" y="106"/>
                </a:cubicBezTo>
                <a:cubicBezTo>
                  <a:pt x="250" y="106"/>
                  <a:pt x="245" y="111"/>
                  <a:pt x="245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320"/>
                  <a:pt x="117" y="320"/>
                  <a:pt x="117" y="320"/>
                </a:cubicBezTo>
                <a:cubicBezTo>
                  <a:pt x="117" y="326"/>
                  <a:pt x="122" y="330"/>
                  <a:pt x="128" y="330"/>
                </a:cubicBezTo>
                <a:cubicBezTo>
                  <a:pt x="198" y="330"/>
                  <a:pt x="198" y="330"/>
                  <a:pt x="198" y="330"/>
                </a:cubicBezTo>
                <a:cubicBezTo>
                  <a:pt x="171" y="401"/>
                  <a:pt x="171" y="401"/>
                  <a:pt x="171" y="401"/>
                </a:cubicBezTo>
                <a:cubicBezTo>
                  <a:pt x="169" y="407"/>
                  <a:pt x="172" y="413"/>
                  <a:pt x="177" y="415"/>
                </a:cubicBezTo>
                <a:cubicBezTo>
                  <a:pt x="178" y="415"/>
                  <a:pt x="180" y="416"/>
                  <a:pt x="181" y="416"/>
                </a:cubicBezTo>
                <a:cubicBezTo>
                  <a:pt x="185" y="416"/>
                  <a:pt x="189" y="413"/>
                  <a:pt x="191" y="409"/>
                </a:cubicBezTo>
                <a:cubicBezTo>
                  <a:pt x="220" y="330"/>
                  <a:pt x="220" y="330"/>
                  <a:pt x="220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373"/>
                  <a:pt x="245" y="373"/>
                  <a:pt x="245" y="373"/>
                </a:cubicBezTo>
                <a:cubicBezTo>
                  <a:pt x="245" y="379"/>
                  <a:pt x="250" y="384"/>
                  <a:pt x="256" y="384"/>
                </a:cubicBezTo>
                <a:cubicBezTo>
                  <a:pt x="262" y="384"/>
                  <a:pt x="266" y="379"/>
                  <a:pt x="266" y="373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91" y="330"/>
                  <a:pt x="291" y="330"/>
                  <a:pt x="291" y="330"/>
                </a:cubicBezTo>
                <a:cubicBezTo>
                  <a:pt x="320" y="409"/>
                  <a:pt x="320" y="409"/>
                  <a:pt x="320" y="409"/>
                </a:cubicBezTo>
                <a:cubicBezTo>
                  <a:pt x="322" y="413"/>
                  <a:pt x="326" y="416"/>
                  <a:pt x="330" y="416"/>
                </a:cubicBezTo>
                <a:cubicBezTo>
                  <a:pt x="332" y="416"/>
                  <a:pt x="333" y="415"/>
                  <a:pt x="334" y="415"/>
                </a:cubicBezTo>
                <a:cubicBezTo>
                  <a:pt x="340" y="413"/>
                  <a:pt x="342" y="407"/>
                  <a:pt x="340" y="401"/>
                </a:cubicBezTo>
                <a:cubicBezTo>
                  <a:pt x="314" y="330"/>
                  <a:pt x="314" y="330"/>
                  <a:pt x="314" y="330"/>
                </a:cubicBezTo>
                <a:cubicBezTo>
                  <a:pt x="384" y="330"/>
                  <a:pt x="384" y="330"/>
                  <a:pt x="384" y="330"/>
                </a:cubicBezTo>
                <a:cubicBezTo>
                  <a:pt x="390" y="330"/>
                  <a:pt x="394" y="326"/>
                  <a:pt x="394" y="320"/>
                </a:cubicBezTo>
                <a:lnTo>
                  <a:pt x="394" y="12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BFC875D5-CCD9-43F4-926C-C32E426E6CBE}"/>
              </a:ext>
            </a:extLst>
          </p:cNvPr>
          <p:cNvGrpSpPr/>
          <p:nvPr/>
        </p:nvGrpSpPr>
        <p:grpSpPr>
          <a:xfrm>
            <a:off x="4784696" y="5767242"/>
            <a:ext cx="2622608" cy="606054"/>
            <a:chOff x="914561" y="2604686"/>
            <a:chExt cx="1926455" cy="606054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E5F59B70-4763-49E8-9FEE-AFC07A1FCA51}"/>
                </a:ext>
              </a:extLst>
            </p:cNvPr>
            <p:cNvSpPr txBox="1"/>
            <p:nvPr/>
          </p:nvSpPr>
          <p:spPr>
            <a:xfrm>
              <a:off x="914561" y="2604686"/>
              <a:ext cx="19264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ODULE 4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5B4401A4-DDA1-4575-8287-7089504CAA12}"/>
                </a:ext>
              </a:extLst>
            </p:cNvPr>
            <p:cNvSpPr txBox="1"/>
            <p:nvPr/>
          </p:nvSpPr>
          <p:spPr>
            <a:xfrm>
              <a:off x="914561" y="2902963"/>
              <a:ext cx="192645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INAL PRESENTATION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CAEE5BD2-5EBF-44D9-80E7-BFFB53F8CCB5}"/>
              </a:ext>
            </a:extLst>
          </p:cNvPr>
          <p:cNvSpPr txBox="1"/>
          <p:nvPr/>
        </p:nvSpPr>
        <p:spPr bwMode="gray">
          <a:xfrm>
            <a:off x="3682987" y="4624335"/>
            <a:ext cx="1783081" cy="2267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</p:spPr>
        <p:txBody>
          <a:bodyPr wrap="square" lIns="0" tIns="9144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oday’s Focus</a:t>
            </a:r>
          </a:p>
        </p:txBody>
      </p:sp>
    </p:spTree>
    <p:extLst>
      <p:ext uri="{BB962C8B-B14F-4D97-AF65-F5344CB8AC3E}">
        <p14:creationId xmlns:p14="http://schemas.microsoft.com/office/powerpoint/2010/main" val="11935983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697ECA-2001-46D9-9E42-0365E257F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ule 2 Assignment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B9F3A-0D3B-4ABD-B099-77F65E5009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823" y="1005840"/>
            <a:ext cx="11240676" cy="475488"/>
          </a:xfrm>
        </p:spPr>
        <p:txBody>
          <a:bodyPr/>
          <a:lstStyle/>
          <a:p>
            <a:r>
              <a:rPr lang="en-US"/>
              <a:t>The following tasks are due on </a:t>
            </a:r>
            <a:r>
              <a:rPr lang="en-US" b="1">
                <a:highlight>
                  <a:srgbClr val="FFFF00"/>
                </a:highlight>
              </a:rPr>
              <a:t>Wednesday, September 21</a:t>
            </a:r>
            <a:r>
              <a:rPr lang="en-US" b="1" baseline="30000">
                <a:highlight>
                  <a:srgbClr val="FFFF00"/>
                </a:highlight>
              </a:rPr>
              <a:t>st</a:t>
            </a:r>
            <a:r>
              <a:rPr lang="en-US" b="1">
                <a:highlight>
                  <a:srgbClr val="FFFF00"/>
                </a:highlight>
              </a:rPr>
              <a:t> </a:t>
            </a:r>
            <a:r>
              <a:rPr lang="en-US">
                <a:highlight>
                  <a:srgbClr val="FFFF00"/>
                </a:highlight>
              </a:rPr>
              <a:t>at </a:t>
            </a:r>
            <a:r>
              <a:rPr lang="en-US" b="1">
                <a:highlight>
                  <a:srgbClr val="FFFF00"/>
                </a:highlight>
              </a:rPr>
              <a:t>5pm EST</a:t>
            </a:r>
            <a:r>
              <a:rPr lang="en-US" b="1"/>
              <a:t>. </a:t>
            </a:r>
            <a:r>
              <a:rPr lang="en-US"/>
              <a:t>Each group should submit a PPT containing each deliverable in this deck to the SGT Bootcamp Teams link by this tim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936EC93-DFDB-401B-8025-4D7712E4B44D}"/>
              </a:ext>
            </a:extLst>
          </p:cNvPr>
          <p:cNvSpPr txBox="1"/>
          <p:nvPr/>
        </p:nvSpPr>
        <p:spPr>
          <a:xfrm>
            <a:off x="1244972" y="4841181"/>
            <a:ext cx="67629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IDENTIFY CRITICAL CONDITIONS &amp; BARRIER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35B54AD-FD3E-4239-9C52-CAB71BF2E759}"/>
              </a:ext>
            </a:extLst>
          </p:cNvPr>
          <p:cNvSpPr txBox="1"/>
          <p:nvPr/>
        </p:nvSpPr>
        <p:spPr>
          <a:xfrm>
            <a:off x="1244972" y="5141937"/>
            <a:ext cx="1047154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Identify critical conditions for each of your options. What would need to be true for your options to be viable solutions?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Identify which of these conditions are barriers that would need to be tested in order to have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a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base level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of confidenc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 to pursue the op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86F200">
                    <a:lumMod val="75000"/>
                  </a:srgbClr>
                </a:solidFill>
                <a:effectLst/>
                <a:uLnTx/>
                <a:uFillTx/>
                <a:latin typeface="Open Sans"/>
                <a:ea typeface="Open Sans Semibold" panose="020B0706030804020204" pitchFamily="34" charset="0"/>
                <a:cs typeface="Open Sans Semibold" panose="020B0706030804020204" pitchFamily="34" charset="0"/>
              </a:rPr>
              <a:t>DELIVERABLE: CRITICAL CONDITIONS &amp; BARRIER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86F200">
                  <a:lumMod val="75000"/>
                </a:srgb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70E40A-21D3-4E04-A803-F65CE4B03FF0}"/>
              </a:ext>
            </a:extLst>
          </p:cNvPr>
          <p:cNvSpPr txBox="1"/>
          <p:nvPr/>
        </p:nvSpPr>
        <p:spPr>
          <a:xfrm>
            <a:off x="1244972" y="3731242"/>
            <a:ext cx="527657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MPLETE CHOICE CASCADES FOR EACH STRATEGIC OP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62C4263-1B3A-4756-A757-B28A27472C69}"/>
              </a:ext>
            </a:extLst>
          </p:cNvPr>
          <p:cNvSpPr txBox="1"/>
          <p:nvPr/>
        </p:nvSpPr>
        <p:spPr>
          <a:xfrm>
            <a:off x="1244972" y="4012974"/>
            <a:ext cx="10471540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or each option, create a choice cascade to express how it would be a robust solution to help Peloton achieve their goa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86F200">
                    <a:lumMod val="7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LIVERABLE: INDIVIDUAL CHOICE CASCAD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86F200">
                  <a:lumMod val="75000"/>
                </a:srgb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1C91A5D-0AA9-4FE2-A14F-4AE0DACB583A}"/>
              </a:ext>
            </a:extLst>
          </p:cNvPr>
          <p:cNvSpPr txBox="1"/>
          <p:nvPr/>
        </p:nvSpPr>
        <p:spPr>
          <a:xfrm>
            <a:off x="1244637" y="1736685"/>
            <a:ext cx="574574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SCUSS PELOTON’S AMBITIONS AND DRAFT STRATEGIC OP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3F0342-9C27-45CC-AE3A-9A9F6B8D54FA}"/>
              </a:ext>
            </a:extLst>
          </p:cNvPr>
          <p:cNvSpPr txBox="1"/>
          <p:nvPr/>
        </p:nvSpPr>
        <p:spPr>
          <a:xfrm>
            <a:off x="1244637" y="2016668"/>
            <a:ext cx="10471540" cy="1523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hat is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eloton’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level of ambition in health and wellness sector? Use the Ambition Matrix to help guide your group discuss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reate a list of </a:t>
            </a:r>
            <a:r>
              <a:rPr kumimoji="0" lang="en-US" sz="14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3-4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mpelling and differentiated strategic options that can help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elo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n meet its aspirations. Leverage the ideation methods discussed in the Module 2 training to draft these option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lot these options on the ambition matrix and check that they match the first discussion in this sec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86F200">
                    <a:lumMod val="7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LIVERABLES: LIST OF STRATEGIC OPTIONS &amp; AMBITION MATRIX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A12F8A5-C4AE-4D73-ACC7-A9CCC82F69D7}"/>
              </a:ext>
            </a:extLst>
          </p:cNvPr>
          <p:cNvSpPr txBox="1"/>
          <p:nvPr/>
        </p:nvSpPr>
        <p:spPr>
          <a:xfrm>
            <a:off x="475488" y="1736685"/>
            <a:ext cx="569368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86F200">
                    <a:lumMod val="7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4C47D39-DF6E-4EAF-B259-90D7ACF6A3D2}"/>
              </a:ext>
            </a:extLst>
          </p:cNvPr>
          <p:cNvSpPr txBox="1"/>
          <p:nvPr/>
        </p:nvSpPr>
        <p:spPr>
          <a:xfrm>
            <a:off x="475823" y="3653681"/>
            <a:ext cx="569368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86F200">
                    <a:lumMod val="7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94DB672-71AD-4D76-B720-52E25038603C}"/>
              </a:ext>
            </a:extLst>
          </p:cNvPr>
          <p:cNvSpPr txBox="1"/>
          <p:nvPr/>
        </p:nvSpPr>
        <p:spPr>
          <a:xfrm>
            <a:off x="475823" y="4740597"/>
            <a:ext cx="569368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86F200">
                    <a:lumMod val="7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3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1D32D72-34BC-4307-890D-C5D13027FED5}"/>
              </a:ext>
            </a:extLst>
          </p:cNvPr>
          <p:cNvCxnSpPr/>
          <p:nvPr/>
        </p:nvCxnSpPr>
        <p:spPr>
          <a:xfrm>
            <a:off x="566693" y="3542173"/>
            <a:ext cx="9809018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07933B5-3CDE-4F60-A232-2081E826DF09}"/>
              </a:ext>
            </a:extLst>
          </p:cNvPr>
          <p:cNvCxnSpPr/>
          <p:nvPr/>
        </p:nvCxnSpPr>
        <p:spPr>
          <a:xfrm>
            <a:off x="475488" y="4684813"/>
            <a:ext cx="1040843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1C91A5D-0AA9-4FE2-A14F-4AE0DACB583A}"/>
              </a:ext>
            </a:extLst>
          </p:cNvPr>
          <p:cNvSpPr txBox="1"/>
          <p:nvPr/>
        </p:nvSpPr>
        <p:spPr>
          <a:xfrm>
            <a:off x="1515588" y="2534574"/>
            <a:ext cx="529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86F200">
                    <a:lumMod val="7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5788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ROmPIRaKkubrqFUFqcw"/>
</p:tagLst>
</file>

<file path=ppt/theme/theme1.xml><?xml version="1.0" encoding="utf-8"?>
<a:theme xmlns:a="http://schemas.openxmlformats.org/drawingml/2006/main" name="3_DD Template May 2017 16x9">
  <a:themeElements>
    <a:clrScheme name="DD Rebrand Dec 2016">
      <a:dk1>
        <a:srgbClr val="000000"/>
      </a:dk1>
      <a:lt1>
        <a:srgbClr val="FFFFFF"/>
      </a:lt1>
      <a:dk2>
        <a:srgbClr val="000000"/>
      </a:dk2>
      <a:lt2>
        <a:srgbClr val="F7F5F3"/>
      </a:lt2>
      <a:accent1>
        <a:srgbClr val="86F200"/>
      </a:accent1>
      <a:accent2>
        <a:srgbClr val="34F0FF"/>
      </a:accent2>
      <a:accent3>
        <a:srgbClr val="FDD300"/>
      </a:accent3>
      <a:accent4>
        <a:srgbClr val="3EFAC5"/>
      </a:accent4>
      <a:accent5>
        <a:srgbClr val="787878"/>
      </a:accent5>
      <a:accent6>
        <a:srgbClr val="5A5A5A"/>
      </a:accent6>
      <a:hlink>
        <a:srgbClr val="3C3C3C"/>
      </a:hlink>
      <a:folHlink>
        <a:srgbClr val="1E1E1E"/>
      </a:folHlink>
    </a:clrScheme>
    <a:fontScheme name="DD Agency">
      <a:majorFont>
        <a:latin typeface="Chronicle Display Black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DRebrandMaster_16x9_v1" id="{90B4DB23-4054-474E-A189-0311DCA37F9F}" vid="{49D8AB05-F05B-114C-B15F-F8DA1370C6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C064A94485534BA0BFD7E09DB9A627" ma:contentTypeVersion="6" ma:contentTypeDescription="Create a new document." ma:contentTypeScope="" ma:versionID="e8f6044627a6a184951ac3a155d0e27a">
  <xsd:schema xmlns:xsd="http://www.w3.org/2001/XMLSchema" xmlns:xs="http://www.w3.org/2001/XMLSchema" xmlns:p="http://schemas.microsoft.com/office/2006/metadata/properties" xmlns:ns2="cf8e2501-c811-4380-8ee4-4ffa76db9799" xmlns:ns3="32e079ba-4833-4d99-8ccb-5e1462ee65ab" targetNamespace="http://schemas.microsoft.com/office/2006/metadata/properties" ma:root="true" ma:fieldsID="40735af916334740661664bf8ac5939e" ns2:_="" ns3:_="">
    <xsd:import namespace="cf8e2501-c811-4380-8ee4-4ffa76db9799"/>
    <xsd:import namespace="32e079ba-4833-4d99-8ccb-5e1462ee65a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8e2501-c811-4380-8ee4-4ffa76db97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e079ba-4833-4d99-8ccb-5e1462ee65a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3FE0D45-801F-4FB7-B2B6-343BBAD5AC3A}">
  <ds:schemaRefs>
    <ds:schemaRef ds:uri="32e079ba-4833-4d99-8ccb-5e1462ee65ab"/>
    <ds:schemaRef ds:uri="cf8e2501-c811-4380-8ee4-4ffa76db97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036F0B7-CFEE-483B-B0DF-ACBF3C4D9DD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67A954-B519-4195-BCD5-1B47458CF59E}">
  <ds:schemaRefs>
    <ds:schemaRef ds:uri="32e079ba-4833-4d99-8ccb-5e1462ee65ab"/>
    <ds:schemaRef ds:uri="cf8e2501-c811-4380-8ee4-4ffa76db979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4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3_DD Template May 2017 16x9</vt:lpstr>
      <vt:lpstr>PowerPoint Presentation</vt:lpstr>
      <vt:lpstr>Discussion Questions</vt:lpstr>
      <vt:lpstr>Project Structure </vt:lpstr>
      <vt:lpstr>Module 2 Assignment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oody, Austin Michael</dc:creator>
  <cp:revision>1</cp:revision>
  <dcterms:created xsi:type="dcterms:W3CDTF">2022-09-09T18:55:50Z</dcterms:created>
  <dcterms:modified xsi:type="dcterms:W3CDTF">2022-09-16T14:0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9-09T18:55:5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8a1d23b-8f1d-414f-88a8-921015e5c0ff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A2C064A94485534BA0BFD7E09DB9A627</vt:lpwstr>
  </property>
</Properties>
</file>